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4"/>
  </p:notesMasterIdLst>
  <p:sldIdLst>
    <p:sldId id="352" r:id="rId2"/>
    <p:sldId id="353" r:id="rId3"/>
    <p:sldId id="899" r:id="rId4"/>
    <p:sldId id="901" r:id="rId5"/>
    <p:sldId id="902" r:id="rId6"/>
    <p:sldId id="903" r:id="rId7"/>
    <p:sldId id="898" r:id="rId8"/>
    <p:sldId id="904" r:id="rId9"/>
    <p:sldId id="321" r:id="rId10"/>
    <p:sldId id="905" r:id="rId11"/>
    <p:sldId id="906" r:id="rId12"/>
    <p:sldId id="907" r:id="rId13"/>
    <p:sldId id="291" r:id="rId14"/>
    <p:sldId id="305" r:id="rId15"/>
    <p:sldId id="311" r:id="rId16"/>
    <p:sldId id="309" r:id="rId17"/>
    <p:sldId id="355" r:id="rId18"/>
    <p:sldId id="284" r:id="rId19"/>
    <p:sldId id="909" r:id="rId20"/>
    <p:sldId id="908" r:id="rId21"/>
    <p:sldId id="910" r:id="rId22"/>
    <p:sldId id="911" r:id="rId23"/>
    <p:sldId id="912" r:id="rId24"/>
    <p:sldId id="913" r:id="rId25"/>
    <p:sldId id="919" r:id="rId26"/>
    <p:sldId id="931" r:id="rId27"/>
    <p:sldId id="922" r:id="rId28"/>
    <p:sldId id="921" r:id="rId29"/>
    <p:sldId id="923" r:id="rId30"/>
    <p:sldId id="917" r:id="rId31"/>
    <p:sldId id="915" r:id="rId32"/>
    <p:sldId id="916" r:id="rId33"/>
    <p:sldId id="924" r:id="rId34"/>
    <p:sldId id="914" r:id="rId35"/>
    <p:sldId id="920" r:id="rId36"/>
    <p:sldId id="918" r:id="rId37"/>
    <p:sldId id="925" r:id="rId38"/>
    <p:sldId id="926" r:id="rId39"/>
    <p:sldId id="927" r:id="rId40"/>
    <p:sldId id="930" r:id="rId41"/>
    <p:sldId id="928" r:id="rId42"/>
    <p:sldId id="929" r:id="rId43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ukas wallrich" initials="lw" lastIdx="1" clrIdx="0">
    <p:extLst>
      <p:ext uri="{19B8F6BF-5375-455C-9EA6-DF929625EA0E}">
        <p15:presenceInfo xmlns:p15="http://schemas.microsoft.com/office/powerpoint/2012/main" userId="9cc34b299f979ce2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353" autoAdjust="0"/>
    <p:restoredTop sz="80735" autoAdjust="0"/>
  </p:normalViewPr>
  <p:slideViewPr>
    <p:cSldViewPr snapToGrid="0">
      <p:cViewPr varScale="1">
        <p:scale>
          <a:sx n="60" d="100"/>
          <a:sy n="60" d="100"/>
        </p:scale>
        <p:origin x="78" y="79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3AA033-D06F-4026-B0B9-B73284884536}" type="datetimeFigureOut">
              <a:rPr lang="en-GB" smtClean="0"/>
              <a:t>27/11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98262F-4E77-4005-A49E-2F8B762942A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02217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vox.com/science-and-health/2018/8/27/17761466/psychology-replication-crisis-nature-social-science" TargetMode="External"/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medium.com/@davenuss79/the-replicability-issue-and-stereotype-threat-research-a988d6f8b080" TargetMode="External"/><Relationship Id="rId4" Type="http://schemas.openxmlformats.org/officeDocument/2006/relationships/hyperlink" Target="https://www.tandfonline.com/doi/full/10.1080/23743603.2018.1559647" TargetMode="Externa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fivethirtyeight.com/features/science-isnt-broken" TargetMode="External"/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slate.com/technology/2013/05/weird-psychology-social-science-researchers-rely-too-much-on-western-college-students.html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slate.com/human-interest/2013/01/virginity-loss-study-does-your-first-time-scar-you-for-life.html" TargetMode="Externa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nobaproject.com/modules/the-replication-crisis-in-psychology" TargetMode="External"/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>
            <a:extLst>
              <a:ext uri="{FF2B5EF4-FFF2-40B4-BE49-F238E27FC236}">
                <a16:creationId xmlns:a16="http://schemas.microsoft.com/office/drawing/2014/main" id="{3EB22AF3-94AE-4295-A318-5227653E850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E898CEC-10D9-4D87-B7C2-24750942F57B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7171" name="Rectangle 2">
            <a:extLst>
              <a:ext uri="{FF2B5EF4-FFF2-40B4-BE49-F238E27FC236}">
                <a16:creationId xmlns:a16="http://schemas.microsoft.com/office/drawing/2014/main" id="{01E366E5-DE5A-4F70-8679-BD14CEA0C64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72" name="Rectangle 3">
            <a:extLst>
              <a:ext uri="{FF2B5EF4-FFF2-40B4-BE49-F238E27FC236}">
                <a16:creationId xmlns:a16="http://schemas.microsoft.com/office/drawing/2014/main" id="{F3F243B7-F6E6-4C0D-B20C-C155756C0F6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4542214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hlinkClick r:id="rId3"/>
              </a:rPr>
              <a:t>https://www.vox.com/science-and-health/2018/8/27/17761466/psychology-replication-crisis-nature-social-science</a:t>
            </a:r>
            <a:endParaRPr lang="en-GB" dirty="0"/>
          </a:p>
          <a:p>
            <a:endParaRPr lang="en-GB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Also, any good theory is based on more than one experiment – e.g., ego depletion – so if one particular experiment does not replicate, just opens a need for discussion</a:t>
            </a:r>
          </a:p>
          <a:p>
            <a:endParaRPr lang="en-GB" dirty="0"/>
          </a:p>
          <a:p>
            <a:r>
              <a:rPr lang="en-GB" dirty="0"/>
              <a:t>Stereotype threat: I had shown you the results of a replication – now there is a new larger replication that shows no result:</a:t>
            </a:r>
          </a:p>
          <a:p>
            <a:r>
              <a:rPr lang="en-GB" dirty="0">
                <a:hlinkClick r:id="rId4"/>
              </a:rPr>
              <a:t>https://www.tandfonline.com/doi/full/10.1080/23743603.2018.1559647</a:t>
            </a:r>
            <a:endParaRPr lang="en-GB" dirty="0"/>
          </a:p>
          <a:p>
            <a:r>
              <a:rPr lang="en-GB" dirty="0"/>
              <a:t>Good (though biased and slightly outdated) discussion of the situation with regard to stereotype threat: </a:t>
            </a:r>
            <a:r>
              <a:rPr lang="en-GB" dirty="0">
                <a:hlinkClick r:id="rId5"/>
              </a:rPr>
              <a:t>https://medium.com/@davenuss79/the-replicability-issue-and-stereotype-threat-research-a988d6f8b080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2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268620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2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70567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hlinkClick r:id="rId3"/>
              </a:rPr>
              <a:t>https://fivethirtyeight.com/features/science-isnt-broken</a:t>
            </a:r>
            <a:endParaRPr lang="en-GB" dirty="0"/>
          </a:p>
          <a:p>
            <a:r>
              <a:rPr lang="en-GB" dirty="0"/>
              <a:t>In published science, p-values just under .05 are over-represented – no reason why that should be</a:t>
            </a:r>
          </a:p>
          <a:p>
            <a:r>
              <a:rPr lang="en-GB" dirty="0"/>
              <a:t>Problem with how we interpret the threshold – makes sense to have an agreed language, but that doesn’t imply that there is a real difference between p = .049 and p = .05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3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97009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Largest effect size: nearly 3x as likely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3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78419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ull results are important to know – especially when they contradict published positives, but also to avoid everyone going down the same wasted path</a:t>
            </a:r>
          </a:p>
          <a:p>
            <a:endParaRPr lang="en-GB" dirty="0"/>
          </a:p>
          <a:p>
            <a:r>
              <a:rPr lang="en-GB" dirty="0"/>
              <a:t>Opposite with replications</a:t>
            </a:r>
          </a:p>
          <a:p>
            <a:endParaRPr lang="en-GB" dirty="0"/>
          </a:p>
          <a:p>
            <a:r>
              <a:rPr lang="en-GB" dirty="0"/>
              <a:t>Small experiments with null results never get published – but small experiments in sexy field (social priming) will until a large replication attempt comes alo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3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68277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JPSP is a very competitive journal -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4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45812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“Subject” is the historical name – partly in response to the criticisms, we now have to say “participants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15232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50982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altLang="en-US" dirty="0"/>
              <a:t>Tend to be more educated, better cognitive skills, more compliant, narrow age range, wealthier. </a:t>
            </a:r>
          </a:p>
          <a:p>
            <a:endParaRPr lang="en-GB" dirty="0">
              <a:hlinkClick r:id="rId3"/>
            </a:endParaRPr>
          </a:p>
          <a:p>
            <a:r>
              <a:rPr lang="en-GB" dirty="0">
                <a:hlinkClick r:id="rId3"/>
              </a:rPr>
              <a:t>https://slate.com/technology/2013/05/weird-psychology-social-science-researchers-rely-too-much-on-western-college-students.html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03393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hlinkClick r:id="rId3"/>
              </a:rPr>
              <a:t>https://slate.com/human-interest/2013/01/virginity-loss-study-does-your-first-time-scar-you-for-life.html</a:t>
            </a:r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67099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My research area – intergroup contact – has become more aware of that in recent years. “Let them eat harmony” – importance to both consider individual attitudes and systemic inequal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09672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Might think the problem goes beyond this – maybe turning complex feelings into numbers just does not wor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31037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hlinkClick r:id="rId3"/>
              </a:rPr>
              <a:t>https://nobaproject.com/modules/the-replication-crisis-in-psychology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77344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Many Lab 2 – published last year – had a success rate around 50% - with huge sample siz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85441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7/11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460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7/11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13819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7/11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72515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7/11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10639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7/11/2019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14548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7/11/2019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48058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7/11/2019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50139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7/11/2019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90804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7/11/2019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50786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7/11/2019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28392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7FFF21-1B8E-44D3-8B50-B1D360324B2D}" type="datetimeFigureOut">
              <a:rPr lang="en-GB" smtClean="0"/>
              <a:t>27/11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9903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10" Type="http://schemas.openxmlformats.org/officeDocument/2006/relationships/hyperlink" Target="mailto:l.Wallrich@gold.ac.uk" TargetMode="External"/><Relationship Id="rId4" Type="http://schemas.openxmlformats.org/officeDocument/2006/relationships/tags" Target="../tags/tag3.xml"/><Relationship Id="rId9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guardian.com/global-development-professionals-network/2015/mar/13/white-people-expats-immigrants-migration" TargetMode="External"/><Relationship Id="rId2" Type="http://schemas.openxmlformats.org/officeDocument/2006/relationships/hyperlink" Target="https://www.coursera.org/lecture/writing-your-world/nelson-mandela-terrorist-or-freedom-fighter-EIfhs" TargetMode="Externa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slideLayout" Target="../slideLayouts/slideLayout2.xml"/><Relationship Id="rId1" Type="http://schemas.openxmlformats.org/officeDocument/2006/relationships/video" Target="https://www.youtube.com/embed/HGJMgCn0fQs?feature=oembed" TargetMode="Externa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pn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slideLayout" Target="../slideLayouts/slideLayout2.xml"/><Relationship Id="rId1" Type="http://schemas.openxmlformats.org/officeDocument/2006/relationships/video" Target="https://www.youtube.com/embed/42QuXLucH3Q?feature=oembed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pn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C3F4C977-FFBE-4A51-84E0-59FAFD7AB83E}"/>
              </a:ext>
            </a:extLst>
          </p:cNvPr>
          <p:cNvGrpSpPr/>
          <p:nvPr/>
        </p:nvGrpSpPr>
        <p:grpSpPr>
          <a:xfrm>
            <a:off x="0" y="-55251"/>
            <a:ext cx="9144000" cy="6913252"/>
            <a:chOff x="0" y="-55251"/>
            <a:chExt cx="9144000" cy="6913252"/>
          </a:xfrm>
        </p:grpSpPr>
        <p:pic>
          <p:nvPicPr>
            <p:cNvPr id="2092" name="Picture 44" descr="Image result for criticism">
              <a:extLst>
                <a:ext uri="{FF2B5EF4-FFF2-40B4-BE49-F238E27FC236}">
                  <a16:creationId xmlns:a16="http://schemas.microsoft.com/office/drawing/2014/main" id="{F460AFF3-0F4B-40C0-A191-EE0F3CA140B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7626" y="1386797"/>
              <a:ext cx="8066374" cy="5471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44" descr="Image result for criticism">
              <a:extLst>
                <a:ext uri="{FF2B5EF4-FFF2-40B4-BE49-F238E27FC236}">
                  <a16:creationId xmlns:a16="http://schemas.microsoft.com/office/drawing/2014/main" id="{5615C2F9-2371-45DC-8CA6-42525F529E8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6277"/>
            <a:stretch/>
          </p:blipFill>
          <p:spPr bwMode="auto">
            <a:xfrm flipV="1">
              <a:off x="0" y="-55251"/>
              <a:ext cx="9144000" cy="14404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44" descr="Image result for criticism">
              <a:extLst>
                <a:ext uri="{FF2B5EF4-FFF2-40B4-BE49-F238E27FC236}">
                  <a16:creationId xmlns:a16="http://schemas.microsoft.com/office/drawing/2014/main" id="{80A1809B-6F5B-4BF5-9966-CA011F455C6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93341"/>
            <a:stretch/>
          </p:blipFill>
          <p:spPr bwMode="auto">
            <a:xfrm flipH="1">
              <a:off x="0" y="1385209"/>
              <a:ext cx="1077360" cy="5471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aphicFrame>
        <p:nvGraphicFramePr>
          <p:cNvPr id="6146" name="Object 6" hidden="1">
            <a:extLst>
              <a:ext uri="{FF2B5EF4-FFF2-40B4-BE49-F238E27FC236}">
                <a16:creationId xmlns:a16="http://schemas.microsoft.com/office/drawing/2014/main" id="{C40C388D-AEAD-4D66-B6AC-8486241E11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6146" name="Object 6" hidden="1">
                        <a:extLst>
                          <a:ext uri="{FF2B5EF4-FFF2-40B4-BE49-F238E27FC236}">
                            <a16:creationId xmlns:a16="http://schemas.microsoft.com/office/drawing/2014/main" id="{C40C388D-AEAD-4D66-B6AC-8486241E11D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9" name="Rectangle 1">
            <a:extLst>
              <a:ext uri="{FF2B5EF4-FFF2-40B4-BE49-F238E27FC236}">
                <a16:creationId xmlns:a16="http://schemas.microsoft.com/office/drawing/2014/main" id="{365A5990-0E78-4267-9CA3-2964EF39DFA6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-107950" y="123074"/>
            <a:ext cx="9359900" cy="2291888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PSY4013 – Intro to Social Psychology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5: Challenges to </a:t>
            </a:r>
            <a:b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</a:b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Social Psychology</a:t>
            </a:r>
            <a:endParaRPr kumimoji="0" lang="en-US" altLang="en-US" sz="3600" b="1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sp>
        <p:nvSpPr>
          <p:cNvPr id="6150" name="Rectangle 1">
            <a:extLst>
              <a:ext uri="{FF2B5EF4-FFF2-40B4-BE49-F238E27FC236}">
                <a16:creationId xmlns:a16="http://schemas.microsoft.com/office/drawing/2014/main" id="{5A104DF4-EFFD-4F0F-B936-939C0527B9C9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-107950" y="6110288"/>
            <a:ext cx="9359900" cy="749300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ukas Wallrich (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0"/>
              </a:rPr>
              <a:t>l.wallrich@gold.ac.uk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 | November 2019 </a:t>
            </a:r>
            <a:r>
              <a:rPr kumimoji="0" lang="en-US" altLang="en-US" sz="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  <a:endParaRPr kumimoji="0" lang="en-US" altLang="en-US" sz="100" b="1" i="0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10585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13A4CA-DFE2-46F9-AE18-EE6A1582CD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34304"/>
            <a:ext cx="7886700" cy="1325563"/>
          </a:xfrm>
        </p:spPr>
        <p:txBody>
          <a:bodyPr/>
          <a:lstStyle/>
          <a:p>
            <a:r>
              <a:rPr lang="en-GB" dirty="0"/>
              <a:t>Narrow participant pool</a:t>
            </a:r>
            <a:br>
              <a:rPr lang="en-GB" dirty="0"/>
            </a:br>
            <a:r>
              <a:rPr lang="en-GB" sz="2400" dirty="0"/>
              <a:t>(See: </a:t>
            </a:r>
            <a:r>
              <a:rPr lang="en-GB" sz="2400" dirty="0" err="1"/>
              <a:t>McVittie</a:t>
            </a:r>
            <a:r>
              <a:rPr lang="en-GB" sz="2400" dirty="0"/>
              <a:t> &amp; McKinley, 2008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0A523B-45ED-4B5A-A730-A816E22135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49" y="1564004"/>
            <a:ext cx="4374866" cy="2350451"/>
          </a:xfrm>
        </p:spPr>
        <p:txBody>
          <a:bodyPr>
            <a:normAutofit fontScale="92500" lnSpcReduction="10000"/>
          </a:bodyPr>
          <a:lstStyle/>
          <a:p>
            <a:r>
              <a:rPr lang="en-GB" dirty="0"/>
              <a:t>Traditional psychological research often conducted on undergraduate psychology students</a:t>
            </a:r>
          </a:p>
          <a:p>
            <a:r>
              <a:rPr lang="en-GB" dirty="0"/>
              <a:t>Easy access, financial reward, course credit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CACEA06-FF20-43E2-B799-73174611780E}"/>
              </a:ext>
            </a:extLst>
          </p:cNvPr>
          <p:cNvSpPr txBox="1">
            <a:spLocks/>
          </p:cNvSpPr>
          <p:nvPr/>
        </p:nvSpPr>
        <p:spPr>
          <a:xfrm>
            <a:off x="628649" y="3968929"/>
            <a:ext cx="8083835" cy="245241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accent2"/>
                </a:solidFill>
              </a:rPr>
              <a:t>Why might that be a problem?</a:t>
            </a:r>
          </a:p>
          <a:p>
            <a:endParaRPr lang="en-GB" sz="1500" dirty="0">
              <a:solidFill>
                <a:schemeClr val="accent2"/>
              </a:solidFill>
            </a:endParaRPr>
          </a:p>
          <a:p>
            <a:r>
              <a:rPr lang="en-GB" dirty="0"/>
              <a:t>They (we) are from </a:t>
            </a:r>
            <a:r>
              <a:rPr lang="en-GB" dirty="0">
                <a:solidFill>
                  <a:schemeClr val="accent2"/>
                </a:solidFill>
              </a:rPr>
              <a:t>WEIRD</a:t>
            </a:r>
            <a:r>
              <a:rPr lang="en-GB" dirty="0"/>
              <a:t> backgrounds –White, Educated, Industrialised, Rich and Democratic countries</a:t>
            </a:r>
          </a:p>
          <a:p>
            <a:r>
              <a:rPr lang="en-GB" dirty="0"/>
              <a:t>And, not real adults (see Emerging Adulthood), </a:t>
            </a:r>
            <a:br>
              <a:rPr lang="en-GB" dirty="0"/>
            </a:br>
            <a:r>
              <a:rPr lang="en-GB" dirty="0"/>
              <a:t>in a setting that promotes complianc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D59A6A5-3DBC-4189-B222-EC2D73BBB98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8599" y="1564004"/>
            <a:ext cx="3304520" cy="2199008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7702810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F6F57E-D82E-4541-B9F3-B5D9B632E0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n extreme examp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9BBA5D-7219-45E9-823A-BB5B0239D9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636C9E5-7616-476B-BAA4-20A1C8B13C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825625"/>
            <a:ext cx="9144000" cy="3701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7960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F6F57E-D82E-4541-B9F3-B5D9B632E0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n extreme examp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9BBA5D-7219-45E9-823A-BB5B0239D9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749836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GB" sz="2200" i="1" dirty="0">
                <a:solidFill>
                  <a:schemeClr val="accent2">
                    <a:lumMod val="50000"/>
                  </a:schemeClr>
                </a:solidFill>
              </a:rPr>
              <a:t>“These results suggest that </a:t>
            </a:r>
            <a:r>
              <a:rPr lang="en-GB" sz="2200" b="1" i="1" dirty="0">
                <a:solidFill>
                  <a:schemeClr val="accent2">
                    <a:lumMod val="50000"/>
                  </a:schemeClr>
                </a:solidFill>
              </a:rPr>
              <a:t>one’s first-time sexual experience </a:t>
            </a:r>
            <a:r>
              <a:rPr lang="en-GB" sz="2200" i="1" dirty="0">
                <a:solidFill>
                  <a:schemeClr val="accent2">
                    <a:lumMod val="50000"/>
                  </a:schemeClr>
                </a:solidFill>
              </a:rPr>
              <a:t>is more than just a milestone in development. Rather, it </a:t>
            </a:r>
            <a:r>
              <a:rPr lang="en-GB" sz="2200" b="1" i="1" dirty="0">
                <a:solidFill>
                  <a:schemeClr val="accent2">
                    <a:lumMod val="50000"/>
                  </a:schemeClr>
                </a:solidFill>
              </a:rPr>
              <a:t>appears to have implications for their sexual well-being years later</a:t>
            </a:r>
            <a:r>
              <a:rPr lang="en-GB" sz="2200" i="1" dirty="0">
                <a:solidFill>
                  <a:schemeClr val="accent2">
                    <a:lumMod val="50000"/>
                  </a:schemeClr>
                </a:solidFill>
              </a:rPr>
              <a:t>” (Abstract)</a:t>
            </a:r>
          </a:p>
          <a:p>
            <a:pPr marL="0" indent="0">
              <a:buNone/>
            </a:pPr>
            <a:endParaRPr lang="en-GB" sz="1800" i="1" dirty="0"/>
          </a:p>
          <a:p>
            <a:r>
              <a:rPr lang="en-GB" dirty="0"/>
              <a:t>319 psychology students, mean age 18.9</a:t>
            </a:r>
          </a:p>
          <a:p>
            <a:r>
              <a:rPr lang="en-GB" dirty="0"/>
              <a:t>Mean age of virginity loss: 16.7 years</a:t>
            </a:r>
          </a:p>
          <a:p>
            <a:endParaRPr lang="en-GB" dirty="0"/>
          </a:p>
          <a:p>
            <a:r>
              <a:rPr lang="en-GB" dirty="0"/>
              <a:t>Duration of study: 2 weeks</a:t>
            </a:r>
          </a:p>
          <a:p>
            <a:r>
              <a:rPr lang="en-GB" dirty="0"/>
              <a:t>Participants filled in questionnaire about </a:t>
            </a:r>
            <a:br>
              <a:rPr lang="en-GB" dirty="0"/>
            </a:br>
            <a:r>
              <a:rPr lang="en-GB" dirty="0"/>
              <a:t>virginity loss at start</a:t>
            </a:r>
          </a:p>
          <a:p>
            <a:r>
              <a:rPr lang="en-GB" dirty="0"/>
              <a:t>Participants to fill in a questionnaire after each “intimate interaction” rating 23 dimension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636C9E5-7616-476B-BAA4-20A1C8B13C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83113" y="0"/>
            <a:ext cx="3560887" cy="1441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0381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990600"/>
          </a:xfrm>
        </p:spPr>
        <p:txBody>
          <a:bodyPr rtlCol="0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GB" dirty="0"/>
              <a:t>Criticism: </a:t>
            </a:r>
            <a:r>
              <a:rPr lang="en-GB" b="1" dirty="0"/>
              <a:t>Individualistic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1" y="1371600"/>
            <a:ext cx="4343399" cy="5029200"/>
          </a:xfrm>
        </p:spPr>
        <p:txBody>
          <a:bodyPr rtlCol="0">
            <a:normAutofit/>
          </a:bodyPr>
          <a:lstStyle/>
          <a:p>
            <a:pPr fontAlgn="auto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GB" dirty="0"/>
              <a:t>Focus on individual as cause of problem </a:t>
            </a:r>
          </a:p>
          <a:p>
            <a:pPr fontAlgn="auto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GB" dirty="0"/>
              <a:t>Goal of mainstream social psychology to fix the individual  </a:t>
            </a:r>
          </a:p>
          <a:p>
            <a:pPr marL="457200" lvl="1" indent="0"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GB" dirty="0"/>
              <a:t>e.g., fixing the personal psychology of anorexic girls</a:t>
            </a:r>
          </a:p>
          <a:p>
            <a:pPr marL="457200" lvl="1" indent="0"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GB" dirty="0"/>
              <a:t>e.g., fixing the anxiety of</a:t>
            </a:r>
            <a:br>
              <a:rPr lang="en-GB" dirty="0"/>
            </a:br>
            <a:r>
              <a:rPr lang="en-GB" dirty="0"/>
              <a:t>individual students</a:t>
            </a:r>
          </a:p>
        </p:txBody>
      </p:sp>
      <p:pic>
        <p:nvPicPr>
          <p:cNvPr id="7168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7531" y="1219200"/>
            <a:ext cx="3429000" cy="539485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6200"/>
            <a:ext cx="7010400" cy="1020763"/>
          </a:xfrm>
        </p:spPr>
        <p:txBody>
          <a:bodyPr rtlCol="0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GB" dirty="0"/>
              <a:t>So what’s the problem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66800"/>
            <a:ext cx="4648200" cy="5410200"/>
          </a:xfrm>
        </p:spPr>
        <p:txBody>
          <a:bodyPr>
            <a:normAutofit/>
          </a:bodyPr>
          <a:lstStyle/>
          <a:p>
            <a:pPr marL="514350" indent="-457200">
              <a:lnSpc>
                <a:spcPct val="110000"/>
              </a:lnSpc>
              <a:spcBef>
                <a:spcPts val="600"/>
              </a:spcBef>
              <a:spcAft>
                <a:spcPts val="1200"/>
              </a:spcAft>
            </a:pPr>
            <a:r>
              <a:rPr lang="en-GB" altLang="en-US" dirty="0"/>
              <a:t>Individualism can encourage ‘victim blaming’  </a:t>
            </a:r>
          </a:p>
          <a:p>
            <a:pPr marL="514350" indent="-457200">
              <a:lnSpc>
                <a:spcPct val="110000"/>
              </a:lnSpc>
              <a:spcBef>
                <a:spcPts val="600"/>
              </a:spcBef>
              <a:spcAft>
                <a:spcPts val="1200"/>
              </a:spcAft>
            </a:pPr>
            <a:r>
              <a:rPr lang="en-GB" altLang="en-US" dirty="0"/>
              <a:t>Critics would say: </a:t>
            </a:r>
            <a:br>
              <a:rPr lang="en-GB" altLang="en-US" dirty="0"/>
            </a:br>
            <a:r>
              <a:rPr lang="en-GB" altLang="en-US" sz="2600" dirty="0"/>
              <a:t>“We live in an oppressive and exploitative society – rather than challenge broad systems of social, cultural, economic and political inequality, psychology uses it knowledge to adapt people to its alienating conditions”</a:t>
            </a:r>
          </a:p>
        </p:txBody>
      </p:sp>
      <p:pic>
        <p:nvPicPr>
          <p:cNvPr id="72708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4931" y="1143000"/>
            <a:ext cx="3586669" cy="51816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2709" name="Text Box 5"/>
          <p:cNvSpPr txBox="1">
            <a:spLocks noChangeArrowheads="1"/>
          </p:cNvSpPr>
          <p:nvPr/>
        </p:nvSpPr>
        <p:spPr bwMode="auto">
          <a:xfrm>
            <a:off x="457200" y="6477000"/>
            <a:ext cx="8458200" cy="3416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Font typeface="Arial" charset="0"/>
              <a:buNone/>
            </a:pPr>
            <a:r>
              <a:rPr lang="en-GB" altLang="en-US" dirty="0">
                <a:solidFill>
                  <a:schemeClr val="accent1"/>
                </a:solidFill>
              </a:rPr>
              <a:t>(read section about  Marxism in Gough et al, 2013, ch.1)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7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Rectangle 2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1143000"/>
          </a:xfrm>
        </p:spPr>
        <p:txBody>
          <a:bodyPr/>
          <a:lstStyle/>
          <a:p>
            <a:r>
              <a:rPr lang="en-GB" altLang="en-US" dirty="0"/>
              <a:t>Criticism: </a:t>
            </a:r>
            <a:r>
              <a:rPr lang="en-GB" altLang="en-US" b="1" dirty="0"/>
              <a:t>Constraining choice</a:t>
            </a:r>
          </a:p>
        </p:txBody>
      </p:sp>
      <p:sp>
        <p:nvSpPr>
          <p:cNvPr id="95235" name="Rectangle 3"/>
          <p:cNvSpPr>
            <a:spLocks noGrp="1"/>
          </p:cNvSpPr>
          <p:nvPr>
            <p:ph type="body" idx="1"/>
          </p:nvPr>
        </p:nvSpPr>
        <p:spPr>
          <a:xfrm>
            <a:off x="657546" y="1223481"/>
            <a:ext cx="6534364" cy="5562600"/>
          </a:xfrm>
        </p:spPr>
        <p:txBody>
          <a:bodyPr>
            <a:normAutofit/>
          </a:bodyPr>
          <a:lstStyle/>
          <a:p>
            <a:pPr marL="609600" indent="-609600">
              <a:lnSpc>
                <a:spcPct val="90000"/>
              </a:lnSpc>
              <a:spcAft>
                <a:spcPct val="10000"/>
              </a:spcAft>
            </a:pPr>
            <a:r>
              <a:rPr lang="en-GB" altLang="en-US" sz="2400" dirty="0"/>
              <a:t>Quantitative measures force participants to select from a limited range of choices</a:t>
            </a:r>
          </a:p>
          <a:p>
            <a:pPr marL="609600" indent="-609600">
              <a:lnSpc>
                <a:spcPct val="90000"/>
              </a:lnSpc>
              <a:spcAft>
                <a:spcPct val="10000"/>
              </a:spcAft>
            </a:pPr>
            <a:r>
              <a:rPr lang="en-GB" altLang="en-US" sz="2400" dirty="0"/>
              <a:t>Participants may never have considered phenomenon in numerical form, and answers are then easy to subtly influence / manipulate</a:t>
            </a:r>
          </a:p>
          <a:p>
            <a:pPr marL="590550" indent="-533400">
              <a:lnSpc>
                <a:spcPct val="90000"/>
              </a:lnSpc>
              <a:spcAft>
                <a:spcPct val="10000"/>
              </a:spcAft>
            </a:pPr>
            <a:endParaRPr lang="en-GB" altLang="en-US" sz="24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7CD81A9-9BDF-42B3-8561-66857B3856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4841" y="3182501"/>
            <a:ext cx="7036843" cy="3527109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2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2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7" name="Title 1"/>
          <p:cNvSpPr>
            <a:spLocks noGrp="1"/>
          </p:cNvSpPr>
          <p:nvPr>
            <p:ph type="title"/>
          </p:nvPr>
        </p:nvSpPr>
        <p:spPr>
          <a:xfrm>
            <a:off x="449981" y="316831"/>
            <a:ext cx="6858000" cy="1143000"/>
          </a:xfrm>
        </p:spPr>
        <p:txBody>
          <a:bodyPr/>
          <a:lstStyle/>
          <a:p>
            <a:r>
              <a:rPr lang="en-GB" altLang="en-US" dirty="0"/>
              <a:t>Criticism: </a:t>
            </a:r>
            <a:r>
              <a:rPr lang="en-GB" altLang="en-US" b="1" dirty="0"/>
              <a:t>Dehumanization</a:t>
            </a:r>
          </a:p>
        </p:txBody>
      </p:sp>
      <p:sp>
        <p:nvSpPr>
          <p:cNvPr id="70658" name="Content Placeholder 2"/>
          <p:cNvSpPr>
            <a:spLocks noGrp="1"/>
          </p:cNvSpPr>
          <p:nvPr>
            <p:ph idx="1"/>
          </p:nvPr>
        </p:nvSpPr>
        <p:spPr>
          <a:xfrm>
            <a:off x="449981" y="1459831"/>
            <a:ext cx="5943600" cy="4830763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GB" altLang="en-US" dirty="0"/>
              <a:t>“Individuals become lost in the process of data collection… Numerical precision is achieved at the cost of meaningfulness” </a:t>
            </a:r>
            <a:r>
              <a:rPr lang="en-GB" altLang="en-US" sz="2400" dirty="0"/>
              <a:t>(</a:t>
            </a:r>
            <a:r>
              <a:rPr lang="en-GB" altLang="en-US" sz="2400" dirty="0" err="1"/>
              <a:t>Tuffin</a:t>
            </a:r>
            <a:r>
              <a:rPr lang="en-GB" altLang="en-US" sz="2400" dirty="0"/>
              <a:t>, 2005, p.47). </a:t>
            </a:r>
          </a:p>
          <a:p>
            <a:pPr>
              <a:spcBef>
                <a:spcPts val="1200"/>
              </a:spcBef>
            </a:pPr>
            <a:endParaRPr lang="en-GB" altLang="en-US" sz="2400" dirty="0"/>
          </a:p>
          <a:p>
            <a:pPr>
              <a:spcBef>
                <a:spcPts val="1200"/>
              </a:spcBef>
            </a:pPr>
            <a:r>
              <a:rPr lang="en-GB" altLang="en-US" dirty="0"/>
              <a:t>Summarising the victim of a rape or robbery as a statistic strips out the psychological significance and meaningfulness of the event (?)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6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65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8C4BB5-51A1-46C1-AC0E-7E16C48FA5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n alternative view: </a:t>
            </a:r>
            <a:br>
              <a:rPr lang="en-GB" dirty="0"/>
            </a:br>
            <a:r>
              <a:rPr lang="en-GB" b="1" dirty="0"/>
              <a:t>Social Constructionis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9F97C06-78E0-473C-86DC-3994DC29BCA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b="1" dirty="0">
                <a:solidFill>
                  <a:schemeClr val="accent2"/>
                </a:solidFill>
              </a:rPr>
              <a:t>Ontology</a:t>
            </a:r>
            <a:r>
              <a:rPr lang="en-GB" dirty="0"/>
              <a:t>: reality is socially constructed </a:t>
            </a:r>
            <a:br>
              <a:rPr lang="en-GB" dirty="0"/>
            </a:br>
            <a:r>
              <a:rPr lang="en-GB" dirty="0"/>
              <a:t>(goes against “realism)</a:t>
            </a:r>
          </a:p>
          <a:p>
            <a:r>
              <a:rPr lang="en-GB" dirty="0"/>
              <a:t>“The way people think, the very categories and concepts that provide a framework for meaning for them are provided by the language they use” (Gough et al, 2013, p.14)</a:t>
            </a:r>
          </a:p>
          <a:p>
            <a:r>
              <a:rPr lang="en-GB" dirty="0"/>
              <a:t>Language defines, produces or ‘constructs’ reality – more than one version of an event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25106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</a:t>
            </a:r>
            <a:r>
              <a:rPr lang="en-GB" b="1" dirty="0"/>
              <a:t>active</a:t>
            </a:r>
            <a:r>
              <a:rPr lang="en-GB" dirty="0"/>
              <a:t> role of languag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530849"/>
            <a:ext cx="7886700" cy="4646114"/>
          </a:xfrm>
        </p:spPr>
        <p:txBody>
          <a:bodyPr>
            <a:normAutofit/>
          </a:bodyPr>
          <a:lstStyle/>
          <a:p>
            <a:r>
              <a:rPr lang="en-GB" altLang="en-US" dirty="0"/>
              <a:t>Critique of mainstream view of language:</a:t>
            </a:r>
          </a:p>
          <a:p>
            <a:pPr lvl="1"/>
            <a:r>
              <a:rPr lang="en-GB" altLang="en-US" dirty="0"/>
              <a:t>Language is </a:t>
            </a:r>
            <a:r>
              <a:rPr lang="en-GB" altLang="en-US" i="1" dirty="0"/>
              <a:t>not</a:t>
            </a:r>
            <a:r>
              <a:rPr lang="en-GB" altLang="en-US" dirty="0"/>
              <a:t> a transparent, passive, clear or pure medium through which our thoughts, feelings and internal states can be made available to others</a:t>
            </a:r>
          </a:p>
          <a:p>
            <a:r>
              <a:rPr lang="en-GB" altLang="en-US" dirty="0"/>
              <a:t>Instead, language constructs reality, it does things, it has different effects and functions, it represents the world in particular ways. </a:t>
            </a:r>
          </a:p>
          <a:p>
            <a:pPr lvl="1"/>
            <a:r>
              <a:rPr lang="en-GB" altLang="en-US" dirty="0">
                <a:hlinkClick r:id="rId2"/>
              </a:rPr>
              <a:t>Was Nelson Mandela a “freedom fighter” or a “terrorist”?</a:t>
            </a:r>
            <a:r>
              <a:rPr lang="en-GB" altLang="en-US" dirty="0"/>
              <a:t> [Short online lecture]</a:t>
            </a:r>
          </a:p>
          <a:p>
            <a:pPr lvl="1"/>
            <a:r>
              <a:rPr lang="en-GB" altLang="en-US" dirty="0">
                <a:hlinkClick r:id="rId3"/>
              </a:rPr>
              <a:t>“Why are white people expats when the rest of us are immigrants?” </a:t>
            </a:r>
            <a:r>
              <a:rPr lang="en-GB" altLang="en-US" dirty="0"/>
              <a:t>[Guardian article]</a:t>
            </a:r>
          </a:p>
          <a:p>
            <a:endParaRPr lang="en-GB" altLang="en-US" dirty="0"/>
          </a:p>
          <a:p>
            <a:endParaRPr lang="en-GB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9AB46E-D87F-4453-9EAB-188730DE74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1490" y="494410"/>
            <a:ext cx="4337364" cy="1692794"/>
          </a:xfrm>
        </p:spPr>
        <p:txBody>
          <a:bodyPr>
            <a:normAutofit/>
          </a:bodyPr>
          <a:lstStyle/>
          <a:p>
            <a:r>
              <a:rPr lang="en-GB" sz="4400" dirty="0"/>
              <a:t>Task in threes: </a:t>
            </a:r>
            <a:r>
              <a:rPr lang="en-GB" sz="4400" b="1" dirty="0"/>
              <a:t>media langua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9D5DD8-78A9-4378-991F-F5A6FFD4F6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1490" y="2187204"/>
            <a:ext cx="4734863" cy="3406778"/>
          </a:xfrm>
        </p:spPr>
        <p:txBody>
          <a:bodyPr>
            <a:noAutofit/>
          </a:bodyPr>
          <a:lstStyle/>
          <a:p>
            <a:pPr marL="10860" indent="0">
              <a:spcBef>
                <a:spcPts val="697"/>
              </a:spcBef>
              <a:buNone/>
              <a:tabLst>
                <a:tab pos="206336" algn="l"/>
              </a:tabLst>
            </a:pPr>
            <a:r>
              <a:rPr lang="en-GB" sz="2400" spc="51" dirty="0">
                <a:cs typeface="Trebuchet MS"/>
              </a:rPr>
              <a:t>Watch the video clip and consider the ways in which language ‘constructs’ reality:</a:t>
            </a:r>
          </a:p>
          <a:p>
            <a:pPr marL="353760" indent="-342900">
              <a:spcBef>
                <a:spcPts val="697"/>
              </a:spcBef>
              <a:tabLst>
                <a:tab pos="206336" algn="l"/>
              </a:tabLst>
            </a:pPr>
            <a:r>
              <a:rPr lang="en-GB" sz="2400" spc="51" dirty="0">
                <a:cs typeface="Trebuchet MS"/>
              </a:rPr>
              <a:t>what are people doing with their talk? </a:t>
            </a:r>
          </a:p>
          <a:p>
            <a:pPr marL="353760" indent="-342900">
              <a:spcBef>
                <a:spcPts val="697"/>
              </a:spcBef>
              <a:tabLst>
                <a:tab pos="206336" algn="l"/>
              </a:tabLst>
            </a:pPr>
            <a:r>
              <a:rPr lang="en-GB" sz="2400" spc="51" dirty="0">
                <a:cs typeface="Trebuchet MS"/>
              </a:rPr>
              <a:t>what is the effect or the function of using specific words rather than others?</a:t>
            </a:r>
          </a:p>
          <a:p>
            <a:pPr marL="206336" indent="-195476">
              <a:spcBef>
                <a:spcPts val="697"/>
              </a:spcBef>
              <a:buFont typeface="Arial"/>
              <a:buChar char="•"/>
              <a:tabLst>
                <a:tab pos="206336" algn="l"/>
              </a:tabLst>
            </a:pPr>
            <a:endParaRPr lang="en-GB" sz="1800" spc="51" dirty="0">
              <a:cs typeface="Trebuchet MS"/>
            </a:endParaRPr>
          </a:p>
          <a:p>
            <a:pPr marL="10860" indent="0">
              <a:spcBef>
                <a:spcPts val="697"/>
              </a:spcBef>
              <a:buNone/>
              <a:tabLst>
                <a:tab pos="206336" algn="l"/>
              </a:tabLst>
            </a:pPr>
            <a:r>
              <a:rPr lang="en-GB" sz="2400" spc="51" dirty="0">
                <a:cs typeface="Trebuchet MS"/>
              </a:rPr>
              <a:t>Decide on one person </a:t>
            </a:r>
            <a:br>
              <a:rPr lang="en-GB" sz="2400" spc="51" dirty="0">
                <a:cs typeface="Trebuchet MS"/>
              </a:rPr>
            </a:br>
            <a:r>
              <a:rPr lang="en-GB" sz="2400" spc="51" dirty="0">
                <a:cs typeface="Trebuchet MS"/>
              </a:rPr>
              <a:t>to report back</a:t>
            </a:r>
            <a:endParaRPr lang="en-GB" sz="2400" dirty="0">
              <a:cs typeface="Trebuchet M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BED6A45-4879-448B-9D73-13C1EE7F87F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295" r="17663"/>
          <a:stretch/>
        </p:blipFill>
        <p:spPr>
          <a:xfrm>
            <a:off x="4997859" y="13"/>
            <a:ext cx="4734863" cy="6857987"/>
          </a:xfrm>
          <a:custGeom>
            <a:avLst/>
            <a:gdLst>
              <a:gd name="connsiteX0" fmla="*/ 65565 w 6313150"/>
              <a:gd name="connsiteY0" fmla="*/ 0 h 6857997"/>
              <a:gd name="connsiteX1" fmla="*/ 6313150 w 6313150"/>
              <a:gd name="connsiteY1" fmla="*/ 0 h 6857997"/>
              <a:gd name="connsiteX2" fmla="*/ 6313150 w 6313150"/>
              <a:gd name="connsiteY2" fmla="*/ 6857997 h 6857997"/>
              <a:gd name="connsiteX3" fmla="*/ 3293946 w 6313150"/>
              <a:gd name="connsiteY3" fmla="*/ 6857997 h 6857997"/>
              <a:gd name="connsiteX4" fmla="*/ 3235857 w 6313150"/>
              <a:gd name="connsiteY4" fmla="*/ 6823061 h 6857997"/>
              <a:gd name="connsiteX5" fmla="*/ 0 w 6313150"/>
              <a:gd name="connsiteY5" fmla="*/ 951803 h 6857997"/>
              <a:gd name="connsiteX6" fmla="*/ 31536 w 6313150"/>
              <a:gd name="connsiteY6" fmla="*/ 285771 h 6857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13150" h="6857997">
                <a:moveTo>
                  <a:pt x="65565" y="0"/>
                </a:moveTo>
                <a:lnTo>
                  <a:pt x="6313150" y="0"/>
                </a:lnTo>
                <a:lnTo>
                  <a:pt x="6313150" y="6857997"/>
                </a:lnTo>
                <a:lnTo>
                  <a:pt x="3293946" y="6857997"/>
                </a:lnTo>
                <a:lnTo>
                  <a:pt x="3235857" y="6823061"/>
                </a:lnTo>
                <a:cubicBezTo>
                  <a:pt x="1291240" y="5592803"/>
                  <a:pt x="0" y="3423096"/>
                  <a:pt x="0" y="951803"/>
                </a:cubicBezTo>
                <a:cubicBezTo>
                  <a:pt x="0" y="727140"/>
                  <a:pt x="10673" y="504970"/>
                  <a:pt x="31536" y="285771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9321125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>
            <a:extLst>
              <a:ext uri="{FF2B5EF4-FFF2-40B4-BE49-F238E27FC236}">
                <a16:creationId xmlns:a16="http://schemas.microsoft.com/office/drawing/2014/main" id="{C5E6CFF1-2F42-4E10-9A97-F116F46F53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42" name="Picture 2">
            <a:extLst>
              <a:ext uri="{FF2B5EF4-FFF2-40B4-BE49-F238E27FC236}">
                <a16:creationId xmlns:a16="http://schemas.microsoft.com/office/drawing/2014/main" id="{263308AF-BB01-405A-A977-D076A1A9796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000"/>
                    </a14:imgEffect>
                    <a14:imgEffect>
                      <a14:brightnessContrast bright="-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5325" b="16753"/>
          <a:stretch/>
        </p:blipFill>
        <p:spPr bwMode="auto">
          <a:xfrm>
            <a:off x="20" y="1"/>
            <a:ext cx="9143980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273DB8-49B1-4FB5-AC7A-DB460105CD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065862"/>
            <a:ext cx="2484873" cy="4726276"/>
          </a:xfrm>
        </p:spPr>
        <p:txBody>
          <a:bodyPr>
            <a:normAutofit/>
          </a:bodyPr>
          <a:lstStyle/>
          <a:p>
            <a:pPr algn="r"/>
            <a:r>
              <a:rPr lang="en-GB" sz="4000" dirty="0">
                <a:solidFill>
                  <a:srgbClr val="FFFFFF"/>
                </a:solidFill>
              </a:rPr>
              <a:t>Our plan for today</a:t>
            </a: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67182200-4859-4C8D-BCBB-55B245C28B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3490029" y="2286000"/>
            <a:ext cx="0" cy="2286000"/>
          </a:xfrm>
          <a:prstGeom prst="line">
            <a:avLst/>
          </a:prstGeom>
          <a:ln w="15875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1B47C9-9D28-4034-A9C0-383630B7E3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2153" y="1065862"/>
            <a:ext cx="5489527" cy="4726276"/>
          </a:xfrm>
        </p:spPr>
        <p:txBody>
          <a:bodyPr anchor="ctr">
            <a:normAutofit/>
          </a:bodyPr>
          <a:lstStyle/>
          <a:p>
            <a:r>
              <a:rPr lang="en-GB" sz="2500" dirty="0">
                <a:solidFill>
                  <a:schemeClr val="accent2"/>
                </a:solidFill>
              </a:rPr>
              <a:t>Challenges to quantitative social psychology: </a:t>
            </a:r>
            <a:r>
              <a:rPr lang="en-GB" sz="2500" b="1" dirty="0">
                <a:solidFill>
                  <a:schemeClr val="accent2"/>
                </a:solidFill>
              </a:rPr>
              <a:t>critical approaches</a:t>
            </a:r>
          </a:p>
          <a:p>
            <a:r>
              <a:rPr lang="en-GB" sz="2500" dirty="0"/>
              <a:t>Challenges to quantitative/ experimental social psychology: </a:t>
            </a:r>
            <a:br>
              <a:rPr lang="en-GB" sz="2500" dirty="0"/>
            </a:br>
            <a:r>
              <a:rPr lang="en-GB" sz="2500" dirty="0"/>
              <a:t>the replication crisis</a:t>
            </a:r>
          </a:p>
        </p:txBody>
      </p:sp>
    </p:spTree>
    <p:extLst>
      <p:ext uri="{BB962C8B-B14F-4D97-AF65-F5344CB8AC3E}">
        <p14:creationId xmlns:p14="http://schemas.microsoft.com/office/powerpoint/2010/main" val="34961912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5D4403-53FA-447F-A385-C6349306B3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Online Media 3" title="White Riots vs. Black Protests">
            <a:hlinkClick r:id="" action="ppaction://media"/>
            <a:extLst>
              <a:ext uri="{FF2B5EF4-FFF2-40B4-BE49-F238E27FC236}">
                <a16:creationId xmlns:a16="http://schemas.microsoft.com/office/drawing/2014/main" id="{394ED9C2-C86C-462A-84DB-F25B404B5805}"/>
              </a:ext>
            </a:extLst>
          </p:cNvPr>
          <p:cNvPicPr>
            <a:picLocks noGrp="1" noRot="1" noChangeAspect="1"/>
          </p:cNvPicPr>
          <p:nvPr>
            <p:ph idx="1"/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362699" y="1061322"/>
            <a:ext cx="8418602" cy="473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7084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9AB46E-D87F-4453-9EAB-188730DE74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1490" y="494410"/>
            <a:ext cx="4337364" cy="1692794"/>
          </a:xfrm>
        </p:spPr>
        <p:txBody>
          <a:bodyPr>
            <a:normAutofit/>
          </a:bodyPr>
          <a:lstStyle/>
          <a:p>
            <a:r>
              <a:rPr lang="en-GB" sz="4400" dirty="0"/>
              <a:t>Task in threes: </a:t>
            </a:r>
            <a:r>
              <a:rPr lang="en-GB" sz="4400" b="1" dirty="0"/>
              <a:t>media langua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9D5DD8-78A9-4378-991F-F5A6FFD4F6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1490" y="2187204"/>
            <a:ext cx="4734863" cy="3406778"/>
          </a:xfrm>
        </p:spPr>
        <p:txBody>
          <a:bodyPr>
            <a:noAutofit/>
          </a:bodyPr>
          <a:lstStyle/>
          <a:p>
            <a:pPr marL="10860" indent="0">
              <a:spcBef>
                <a:spcPts val="697"/>
              </a:spcBef>
              <a:buNone/>
              <a:tabLst>
                <a:tab pos="206336" algn="l"/>
              </a:tabLst>
            </a:pPr>
            <a:r>
              <a:rPr lang="en-GB" sz="2400" spc="51" dirty="0">
                <a:cs typeface="Trebuchet MS"/>
              </a:rPr>
              <a:t>Watch the video clip and consider the ways in which language ‘constructs’ reality:</a:t>
            </a:r>
          </a:p>
          <a:p>
            <a:pPr marL="353760" indent="-342900">
              <a:spcBef>
                <a:spcPts val="697"/>
              </a:spcBef>
              <a:tabLst>
                <a:tab pos="206336" algn="l"/>
              </a:tabLst>
            </a:pPr>
            <a:r>
              <a:rPr lang="en-GB" sz="2400" spc="51" dirty="0">
                <a:cs typeface="Trebuchet MS"/>
              </a:rPr>
              <a:t>what are people doing with their talk? </a:t>
            </a:r>
          </a:p>
          <a:p>
            <a:pPr marL="353760" indent="-342900">
              <a:spcBef>
                <a:spcPts val="697"/>
              </a:spcBef>
              <a:tabLst>
                <a:tab pos="206336" algn="l"/>
              </a:tabLst>
            </a:pPr>
            <a:r>
              <a:rPr lang="en-GB" sz="2400" spc="51" dirty="0">
                <a:cs typeface="Trebuchet MS"/>
              </a:rPr>
              <a:t>what is the effect or the function of using specific words rather than others?</a:t>
            </a:r>
          </a:p>
          <a:p>
            <a:pPr marL="206336" indent="-195476">
              <a:spcBef>
                <a:spcPts val="697"/>
              </a:spcBef>
              <a:buFont typeface="Arial"/>
              <a:buChar char="•"/>
              <a:tabLst>
                <a:tab pos="206336" algn="l"/>
              </a:tabLst>
            </a:pPr>
            <a:endParaRPr lang="en-GB" sz="1800" spc="51" dirty="0">
              <a:cs typeface="Trebuchet MS"/>
            </a:endParaRPr>
          </a:p>
          <a:p>
            <a:pPr marL="10860" indent="0">
              <a:spcBef>
                <a:spcPts val="697"/>
              </a:spcBef>
              <a:buNone/>
              <a:tabLst>
                <a:tab pos="206336" algn="l"/>
              </a:tabLst>
            </a:pPr>
            <a:r>
              <a:rPr lang="en-GB" sz="2400" spc="51" dirty="0">
                <a:cs typeface="Trebuchet MS"/>
              </a:rPr>
              <a:t>Decide on one person to report back</a:t>
            </a:r>
            <a:endParaRPr lang="en-GB" sz="2400" dirty="0">
              <a:cs typeface="Trebuchet M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BED6A45-4879-448B-9D73-13C1EE7F87F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295" r="17663"/>
          <a:stretch/>
        </p:blipFill>
        <p:spPr>
          <a:xfrm>
            <a:off x="4997859" y="13"/>
            <a:ext cx="4734863" cy="6857987"/>
          </a:xfrm>
          <a:custGeom>
            <a:avLst/>
            <a:gdLst>
              <a:gd name="connsiteX0" fmla="*/ 65565 w 6313150"/>
              <a:gd name="connsiteY0" fmla="*/ 0 h 6857997"/>
              <a:gd name="connsiteX1" fmla="*/ 6313150 w 6313150"/>
              <a:gd name="connsiteY1" fmla="*/ 0 h 6857997"/>
              <a:gd name="connsiteX2" fmla="*/ 6313150 w 6313150"/>
              <a:gd name="connsiteY2" fmla="*/ 6857997 h 6857997"/>
              <a:gd name="connsiteX3" fmla="*/ 3293946 w 6313150"/>
              <a:gd name="connsiteY3" fmla="*/ 6857997 h 6857997"/>
              <a:gd name="connsiteX4" fmla="*/ 3235857 w 6313150"/>
              <a:gd name="connsiteY4" fmla="*/ 6823061 h 6857997"/>
              <a:gd name="connsiteX5" fmla="*/ 0 w 6313150"/>
              <a:gd name="connsiteY5" fmla="*/ 951803 h 6857997"/>
              <a:gd name="connsiteX6" fmla="*/ 31536 w 6313150"/>
              <a:gd name="connsiteY6" fmla="*/ 285771 h 6857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13150" h="6857997">
                <a:moveTo>
                  <a:pt x="65565" y="0"/>
                </a:moveTo>
                <a:lnTo>
                  <a:pt x="6313150" y="0"/>
                </a:lnTo>
                <a:lnTo>
                  <a:pt x="6313150" y="6857997"/>
                </a:lnTo>
                <a:lnTo>
                  <a:pt x="3293946" y="6857997"/>
                </a:lnTo>
                <a:lnTo>
                  <a:pt x="3235857" y="6823061"/>
                </a:lnTo>
                <a:cubicBezTo>
                  <a:pt x="1291240" y="5592803"/>
                  <a:pt x="0" y="3423096"/>
                  <a:pt x="0" y="951803"/>
                </a:cubicBezTo>
                <a:cubicBezTo>
                  <a:pt x="0" y="727140"/>
                  <a:pt x="10673" y="504970"/>
                  <a:pt x="31536" y="285771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10319769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A38EB3-A883-4981-8C58-3A4E55021D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wo ways of dealing with critiqu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32A1CF-C875-456E-8C10-CB92D9AD1E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49" y="1825624"/>
            <a:ext cx="8186578" cy="4815808"/>
          </a:xfrm>
        </p:spPr>
        <p:txBody>
          <a:bodyPr>
            <a:normAutofit/>
          </a:bodyPr>
          <a:lstStyle/>
          <a:p>
            <a:r>
              <a:rPr lang="en-GB" dirty="0"/>
              <a:t>Become a critical social psychologist who </a:t>
            </a:r>
          </a:p>
          <a:p>
            <a:pPr lvl="1"/>
            <a:r>
              <a:rPr lang="en-GB" dirty="0"/>
              <a:t>prioritises qualitative over quantitative data</a:t>
            </a:r>
          </a:p>
          <a:p>
            <a:pPr lvl="1"/>
            <a:r>
              <a:rPr lang="en-GB" dirty="0"/>
              <a:t>prioritises advocacy over (impossible) neutrality</a:t>
            </a:r>
            <a:br>
              <a:rPr lang="en-GB" dirty="0"/>
            </a:br>
            <a:r>
              <a:rPr lang="en-GB" i="1" dirty="0"/>
              <a:t>as part of their research</a:t>
            </a:r>
          </a:p>
          <a:p>
            <a:pPr lvl="1"/>
            <a:endParaRPr lang="en-GB" dirty="0"/>
          </a:p>
          <a:p>
            <a:r>
              <a:rPr lang="en-GB" dirty="0"/>
              <a:t> Take them on board in mainstream social psychology</a:t>
            </a:r>
          </a:p>
          <a:p>
            <a:pPr lvl="1"/>
            <a:r>
              <a:rPr lang="en-GB" dirty="0"/>
              <a:t>Consider social context of research</a:t>
            </a:r>
          </a:p>
          <a:p>
            <a:pPr lvl="1"/>
            <a:r>
              <a:rPr lang="en-GB" dirty="0"/>
              <a:t>Consider role of language</a:t>
            </a:r>
          </a:p>
          <a:p>
            <a:pPr lvl="1"/>
            <a:r>
              <a:rPr lang="en-GB" dirty="0"/>
              <a:t>Consider minority experiences</a:t>
            </a:r>
          </a:p>
          <a:p>
            <a:pPr lvl="1"/>
            <a:r>
              <a:rPr lang="en-GB" dirty="0"/>
              <a:t>Be wary of </a:t>
            </a:r>
            <a:r>
              <a:rPr lang="en-GB" dirty="0" err="1"/>
              <a:t>WEIRDness</a:t>
            </a:r>
            <a:r>
              <a:rPr lang="en-GB" dirty="0"/>
              <a:t> in samples</a:t>
            </a:r>
          </a:p>
          <a:p>
            <a:pPr lvl="1"/>
            <a:r>
              <a:rPr lang="en-GB" dirty="0"/>
              <a:t>Be respectful of participants and social impact of research</a:t>
            </a:r>
          </a:p>
        </p:txBody>
      </p:sp>
    </p:spTree>
    <p:extLst>
      <p:ext uri="{BB962C8B-B14F-4D97-AF65-F5344CB8AC3E}">
        <p14:creationId xmlns:p14="http://schemas.microsoft.com/office/powerpoint/2010/main" val="22934032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198800-988A-49F1-B075-EA85D93D03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Some arguments to redeem quantitative social psycholog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A192AF-2857-4032-B089-211D4097B33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en-GB" dirty="0"/>
              <a:t>Has (relatively) clear standards to decide between competing theories</a:t>
            </a:r>
          </a:p>
          <a:p>
            <a:r>
              <a:rPr lang="en-GB" dirty="0"/>
              <a:t>Ability to generate knowledge in cumulative process</a:t>
            </a:r>
          </a:p>
          <a:p>
            <a:r>
              <a:rPr lang="en-GB" dirty="0"/>
              <a:t>Ability to decide empirically which findings are culturally specific and which are universal</a:t>
            </a:r>
          </a:p>
          <a:p>
            <a:endParaRPr lang="en-GB" dirty="0"/>
          </a:p>
          <a:p>
            <a:r>
              <a:rPr lang="en-GB" dirty="0"/>
              <a:t>Qualitative and subjective disciplines that focus on </a:t>
            </a:r>
            <a:br>
              <a:rPr lang="en-GB" dirty="0"/>
            </a:br>
            <a:r>
              <a:rPr lang="en-GB" dirty="0"/>
              <a:t>the role of social context exist – e.g., anthropology</a:t>
            </a:r>
          </a:p>
          <a:p>
            <a:r>
              <a:rPr lang="en-GB" dirty="0"/>
              <a:t>Quantitative results are generally more likely to influence decision making</a:t>
            </a:r>
          </a:p>
        </p:txBody>
      </p:sp>
    </p:spTree>
    <p:extLst>
      <p:ext uri="{BB962C8B-B14F-4D97-AF65-F5344CB8AC3E}">
        <p14:creationId xmlns:p14="http://schemas.microsoft.com/office/powerpoint/2010/main" val="19665245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>
            <a:extLst>
              <a:ext uri="{FF2B5EF4-FFF2-40B4-BE49-F238E27FC236}">
                <a16:creationId xmlns:a16="http://schemas.microsoft.com/office/drawing/2014/main" id="{C5E6CFF1-2F42-4E10-9A97-F116F46F53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42" name="Picture 2">
            <a:extLst>
              <a:ext uri="{FF2B5EF4-FFF2-40B4-BE49-F238E27FC236}">
                <a16:creationId xmlns:a16="http://schemas.microsoft.com/office/drawing/2014/main" id="{263308AF-BB01-405A-A977-D076A1A9796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7000"/>
                    </a14:imgEffect>
                    <a14:imgEffect>
                      <a14:brightnessContrast bright="-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5325" b="16753"/>
          <a:stretch/>
        </p:blipFill>
        <p:spPr bwMode="auto">
          <a:xfrm>
            <a:off x="20" y="1"/>
            <a:ext cx="9143980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273DB8-49B1-4FB5-AC7A-DB460105CD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065862"/>
            <a:ext cx="2484873" cy="4726276"/>
          </a:xfrm>
        </p:spPr>
        <p:txBody>
          <a:bodyPr>
            <a:normAutofit/>
          </a:bodyPr>
          <a:lstStyle/>
          <a:p>
            <a:pPr algn="r"/>
            <a:r>
              <a:rPr lang="en-GB" sz="4000" dirty="0">
                <a:solidFill>
                  <a:srgbClr val="FFFFFF"/>
                </a:solidFill>
              </a:rPr>
              <a:t>Our plan for today</a:t>
            </a: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67182200-4859-4C8D-BCBB-55B245C28B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3490029" y="2286000"/>
            <a:ext cx="0" cy="2286000"/>
          </a:xfrm>
          <a:prstGeom prst="line">
            <a:avLst/>
          </a:prstGeom>
          <a:ln w="15875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1B47C9-9D28-4034-A9C0-383630B7E3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2153" y="1065862"/>
            <a:ext cx="5489527" cy="4726276"/>
          </a:xfrm>
        </p:spPr>
        <p:txBody>
          <a:bodyPr anchor="ctr">
            <a:normAutofit/>
          </a:bodyPr>
          <a:lstStyle/>
          <a:p>
            <a:r>
              <a:rPr lang="en-GB" sz="2500" dirty="0"/>
              <a:t>Challenges to quantitative social psychology: critical approaches</a:t>
            </a:r>
          </a:p>
          <a:p>
            <a:r>
              <a:rPr lang="en-GB" sz="2500" dirty="0">
                <a:solidFill>
                  <a:schemeClr val="accent2"/>
                </a:solidFill>
              </a:rPr>
              <a:t>Challenges to quantitative/ experimental social psychology: </a:t>
            </a:r>
            <a:br>
              <a:rPr lang="en-GB" sz="2500" dirty="0">
                <a:solidFill>
                  <a:schemeClr val="accent2"/>
                </a:solidFill>
              </a:rPr>
            </a:br>
            <a:r>
              <a:rPr lang="en-GB" sz="2500" b="1" dirty="0">
                <a:solidFill>
                  <a:schemeClr val="accent2"/>
                </a:solidFill>
              </a:rPr>
              <a:t>the replication crisis</a:t>
            </a:r>
          </a:p>
        </p:txBody>
      </p:sp>
    </p:spTree>
    <p:extLst>
      <p:ext uri="{BB962C8B-B14F-4D97-AF65-F5344CB8AC3E}">
        <p14:creationId xmlns:p14="http://schemas.microsoft.com/office/powerpoint/2010/main" val="29555868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70A5B7-C0CA-44A3-A7B9-9F8E8826CA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plication crisi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AC8AC6-F09D-4362-BEA4-436BC17678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49" y="1825624"/>
            <a:ext cx="3011021" cy="4667250"/>
          </a:xfrm>
        </p:spPr>
        <p:txBody>
          <a:bodyPr>
            <a:normAutofit fontScale="92500" lnSpcReduction="10000"/>
          </a:bodyPr>
          <a:lstStyle/>
          <a:p>
            <a:r>
              <a:rPr lang="en-GB" dirty="0"/>
              <a:t>“Reproducibility project” in 2015 replicated 100 studies … only 36% again yielded significant results</a:t>
            </a:r>
          </a:p>
          <a:p>
            <a:r>
              <a:rPr lang="en-GB" dirty="0"/>
              <a:t>Replicated effect sizes were half those of original studies</a:t>
            </a:r>
          </a:p>
          <a:p>
            <a:r>
              <a:rPr lang="en-GB" dirty="0"/>
              <a:t>Worst in social psychology with ~25% replica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31F277E-9A0B-46DF-8041-3EDE96C5E8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39670" y="1309370"/>
            <a:ext cx="5808606" cy="5548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39427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7DC6FE-691C-4E63-8B5C-BADECED4AA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ome well-known theories that are in doubt or debunk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60C138-B1BD-46B3-A04C-0B7094F265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2023871"/>
            <a:ext cx="7886700" cy="4153091"/>
          </a:xfrm>
        </p:spPr>
        <p:txBody>
          <a:bodyPr/>
          <a:lstStyle/>
          <a:p>
            <a:r>
              <a:rPr lang="en-GB" dirty="0"/>
              <a:t>Ego depletion / decision fatigue</a:t>
            </a:r>
          </a:p>
          <a:p>
            <a:endParaRPr lang="en-GB" dirty="0"/>
          </a:p>
          <a:p>
            <a:r>
              <a:rPr lang="en-GB" dirty="0"/>
              <a:t>Social priming </a:t>
            </a:r>
            <a:br>
              <a:rPr lang="en-GB" dirty="0"/>
            </a:br>
            <a:r>
              <a:rPr lang="en-GB" dirty="0"/>
              <a:t>(e.g., warmth of drink = warmth of person)</a:t>
            </a:r>
          </a:p>
          <a:p>
            <a:endParaRPr lang="en-GB" dirty="0"/>
          </a:p>
          <a:p>
            <a:r>
              <a:rPr lang="en-GB" dirty="0"/>
              <a:t>Marshmallow test</a:t>
            </a:r>
          </a:p>
          <a:p>
            <a:endParaRPr lang="en-GB" dirty="0"/>
          </a:p>
          <a:p>
            <a:r>
              <a:rPr lang="en-GB" dirty="0"/>
              <a:t>Stereotype threat?</a:t>
            </a:r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74453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B04FC3-94EF-4C9F-BC35-1EA3CEB7AF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sight from replications is limit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C62715-2672-42DB-B2FF-0550123D19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513369"/>
            <a:ext cx="7886700" cy="935504"/>
          </a:xfrm>
        </p:spPr>
        <p:txBody>
          <a:bodyPr>
            <a:normAutofit/>
          </a:bodyPr>
          <a:lstStyle/>
          <a:p>
            <a:r>
              <a:rPr lang="en-GB" sz="2200" dirty="0"/>
              <a:t>Any conclusion can describe reality correctly or incorrectly – </a:t>
            </a:r>
            <a:br>
              <a:rPr lang="en-GB" sz="2200" dirty="0"/>
            </a:br>
            <a:r>
              <a:rPr lang="en-GB" sz="2200" dirty="0"/>
              <a:t>in the legal system and in stats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9FAB180-3AFE-4644-A8B2-BB3801DA3C08}"/>
              </a:ext>
            </a:extLst>
          </p:cNvPr>
          <p:cNvSpPr txBox="1">
            <a:spLocks/>
          </p:cNvSpPr>
          <p:nvPr/>
        </p:nvSpPr>
        <p:spPr>
          <a:xfrm>
            <a:off x="628650" y="5116293"/>
            <a:ext cx="7886700" cy="1434901"/>
          </a:xfrm>
          <a:prstGeom prst="rect">
            <a:avLst/>
          </a:prstGeom>
        </p:spPr>
        <p:txBody>
          <a:bodyPr vert="horz" lIns="91440" tIns="45720" rIns="91440" bIns="45720" rtlCol="0">
            <a:normAutofit fontScale="77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In theory, we are </a:t>
            </a:r>
            <a:r>
              <a:rPr lang="en-GB" b="1" dirty="0"/>
              <a:t>more concerned about false positives than false negatives </a:t>
            </a:r>
            <a:r>
              <a:rPr lang="en-GB" dirty="0"/>
              <a:t>(No. Type I errors &lt; No. Type II errors)</a:t>
            </a:r>
          </a:p>
          <a:p>
            <a:r>
              <a:rPr lang="en-GB" dirty="0"/>
              <a:t>So should see more somewhat more replications that wrongly fail to confirm findings than findings that are correctly debunked by a single replication </a:t>
            </a:r>
            <a:r>
              <a:rPr lang="en-GB" dirty="0">
                <a:sym typeface="Wingdings" panose="05000000000000000000" pitchFamily="2" charset="2"/>
              </a:rPr>
              <a:t> but that will be balanced once published</a:t>
            </a:r>
            <a:endParaRPr lang="en-GB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DEC808D-C1AA-4F52-8918-B07F34D6FC84}"/>
              </a:ext>
            </a:extLst>
          </p:cNvPr>
          <p:cNvGrpSpPr/>
          <p:nvPr/>
        </p:nvGrpSpPr>
        <p:grpSpPr>
          <a:xfrm>
            <a:off x="2257306" y="2279904"/>
            <a:ext cx="4629388" cy="2700188"/>
            <a:chOff x="2257306" y="3162532"/>
            <a:chExt cx="4629388" cy="2700188"/>
          </a:xfrm>
        </p:grpSpPr>
        <p:pic>
          <p:nvPicPr>
            <p:cNvPr id="8" name="Picture 7" descr="A screenshot of a cell phone&#10;&#10;Description automatically generated">
              <a:extLst>
                <a:ext uri="{FF2B5EF4-FFF2-40B4-BE49-F238E27FC236}">
                  <a16:creationId xmlns:a16="http://schemas.microsoft.com/office/drawing/2014/main" id="{FCBC58CC-7E34-4E6E-AFAE-5F5DD5E62FA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6462"/>
            <a:stretch/>
          </p:blipFill>
          <p:spPr>
            <a:xfrm>
              <a:off x="2257306" y="3162532"/>
              <a:ext cx="4629388" cy="2700188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FB8932C-036C-46FA-8B1F-9AB37D54F9C9}"/>
                </a:ext>
              </a:extLst>
            </p:cNvPr>
            <p:cNvSpPr txBox="1"/>
            <p:nvPr/>
          </p:nvSpPr>
          <p:spPr>
            <a:xfrm>
              <a:off x="5522976" y="4706112"/>
              <a:ext cx="108508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00" b="1" dirty="0"/>
                <a:t>Type I error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86D3C28-E65E-46DC-8C68-E31432ADD192}"/>
                </a:ext>
              </a:extLst>
            </p:cNvPr>
            <p:cNvSpPr txBox="1"/>
            <p:nvPr/>
          </p:nvSpPr>
          <p:spPr>
            <a:xfrm>
              <a:off x="4255008" y="5488525"/>
              <a:ext cx="108508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00" b="1" dirty="0"/>
                <a:t>Type II erro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468607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30C15B-5558-4091-8056-CBE53EAD8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ypes of replication</a:t>
            </a:r>
          </a:p>
        </p:txBody>
      </p:sp>
      <p:pic>
        <p:nvPicPr>
          <p:cNvPr id="5" name="Content Placeholder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330EB87A-2177-4875-904C-EC5E39B85FC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876" b="12799"/>
          <a:stretch/>
        </p:blipFill>
        <p:spPr>
          <a:xfrm>
            <a:off x="4158908" y="3783106"/>
            <a:ext cx="4462272" cy="2264768"/>
          </a:xfr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DF336FD4-C47F-45A5-BEBD-DB3F4097862D}"/>
              </a:ext>
            </a:extLst>
          </p:cNvPr>
          <p:cNvSpPr txBox="1">
            <a:spLocks/>
          </p:cNvSpPr>
          <p:nvPr/>
        </p:nvSpPr>
        <p:spPr>
          <a:xfrm>
            <a:off x="628649" y="1825625"/>
            <a:ext cx="3011021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>
                <a:solidFill>
                  <a:schemeClr val="accent2"/>
                </a:solidFill>
              </a:rPr>
              <a:t>Direct: </a:t>
            </a:r>
            <a:r>
              <a:rPr lang="en-GB" dirty="0"/>
              <a:t>follows original protocol in as far as possible</a:t>
            </a:r>
          </a:p>
          <a:p>
            <a:endParaRPr lang="en-GB" dirty="0"/>
          </a:p>
          <a:p>
            <a:r>
              <a:rPr lang="en-GB" b="1" dirty="0">
                <a:solidFill>
                  <a:schemeClr val="accent2"/>
                </a:solidFill>
              </a:rPr>
              <a:t>Conceptual: </a:t>
            </a:r>
            <a:r>
              <a:rPr lang="en-GB" dirty="0"/>
              <a:t>tries to capture the idea in a different way</a:t>
            </a:r>
          </a:p>
        </p:txBody>
      </p:sp>
      <p:pic>
        <p:nvPicPr>
          <p:cNvPr id="7" name="Content Placeholder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6CFF6040-7F25-4098-AC8D-6424B1183CD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8124"/>
          <a:stretch/>
        </p:blipFill>
        <p:spPr>
          <a:xfrm>
            <a:off x="4141851" y="1690689"/>
            <a:ext cx="4462272" cy="2092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7160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9769E1-8FDB-46A2-B125-A51F0656AA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696" y="629266"/>
            <a:ext cx="3845274" cy="1676603"/>
          </a:xfrm>
        </p:spPr>
        <p:txBody>
          <a:bodyPr>
            <a:normAutofit/>
          </a:bodyPr>
          <a:lstStyle/>
          <a:p>
            <a:r>
              <a:rPr lang="en-GB" sz="3700" dirty="0"/>
              <a:t>Why do we get </a:t>
            </a:r>
            <a:br>
              <a:rPr lang="en-GB" sz="3700" dirty="0"/>
            </a:br>
            <a:r>
              <a:rPr lang="en-GB" sz="3700" dirty="0"/>
              <a:t>so many false positives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F830F2-3D5D-4A24-9ED8-8A8A329E17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6697" y="2659422"/>
            <a:ext cx="3845272" cy="3785419"/>
          </a:xfrm>
        </p:spPr>
        <p:txBody>
          <a:bodyPr>
            <a:normAutofit lnSpcReduction="10000"/>
          </a:bodyPr>
          <a:lstStyle/>
          <a:p>
            <a:r>
              <a:rPr lang="en-GB" dirty="0"/>
              <a:t>Fabrication (limited!)</a:t>
            </a:r>
          </a:p>
          <a:p>
            <a:endParaRPr lang="en-GB" dirty="0"/>
          </a:p>
          <a:p>
            <a:r>
              <a:rPr lang="en-GB" dirty="0"/>
              <a:t>Data analysis</a:t>
            </a:r>
          </a:p>
          <a:p>
            <a:endParaRPr lang="en-GB" dirty="0"/>
          </a:p>
          <a:p>
            <a:r>
              <a:rPr lang="en-GB" dirty="0"/>
              <a:t>Publishing bias</a:t>
            </a:r>
          </a:p>
          <a:p>
            <a:endParaRPr lang="en-GB" dirty="0"/>
          </a:p>
          <a:p>
            <a:r>
              <a:rPr lang="en-GB" dirty="0"/>
              <a:t>A problem with statistics</a:t>
            </a:r>
          </a:p>
          <a:p>
            <a:endParaRPr lang="en-GB" dirty="0"/>
          </a:p>
        </p:txBody>
      </p:sp>
      <p:pic>
        <p:nvPicPr>
          <p:cNvPr id="7170" name="Picture 2" descr="Image result for danger signs">
            <a:extLst>
              <a:ext uri="{FF2B5EF4-FFF2-40B4-BE49-F238E27FC236}">
                <a16:creationId xmlns:a16="http://schemas.microsoft.com/office/drawing/2014/main" id="{349457AF-D820-4C89-A591-D1B60AB38D8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43" r="17699" b="2"/>
          <a:stretch/>
        </p:blipFill>
        <p:spPr bwMode="auto">
          <a:xfrm>
            <a:off x="4567959" y="640082"/>
            <a:ext cx="4096293" cy="5577837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806798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DFE2A4-D9D2-4233-ABEE-86206003D6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sychology as a scien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D02A10-413B-4ED6-B009-544F8888CB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577673"/>
            <a:ext cx="7886700" cy="2140200"/>
          </a:xfrm>
        </p:spPr>
        <p:txBody>
          <a:bodyPr/>
          <a:lstStyle/>
          <a:p>
            <a:r>
              <a:rPr lang="en-GB" dirty="0"/>
              <a:t>Psychology started in 19</a:t>
            </a:r>
            <a:r>
              <a:rPr lang="en-GB" baseline="30000" dirty="0"/>
              <a:t>th</a:t>
            </a:r>
            <a:r>
              <a:rPr lang="en-GB" dirty="0"/>
              <a:t> century, focus on questions that philosophers spent 2,500 years on</a:t>
            </a:r>
          </a:p>
          <a:p>
            <a:endParaRPr lang="en-GB" dirty="0"/>
          </a:p>
          <a:p>
            <a:r>
              <a:rPr lang="en-GB" dirty="0"/>
              <a:t>So: out of the armchair, into the scientific method</a:t>
            </a:r>
          </a:p>
        </p:txBody>
      </p:sp>
      <p:pic>
        <p:nvPicPr>
          <p:cNvPr id="3074" name="Picture 2" descr="Image result for freud">
            <a:extLst>
              <a:ext uri="{FF2B5EF4-FFF2-40B4-BE49-F238E27FC236}">
                <a16:creationId xmlns:a16="http://schemas.microsoft.com/office/drawing/2014/main" id="{0328A7D3-4759-433D-9E60-D8DA5FB117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29" y="4078554"/>
            <a:ext cx="3622424" cy="2414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Related image">
            <a:extLst>
              <a:ext uri="{FF2B5EF4-FFF2-40B4-BE49-F238E27FC236}">
                <a16:creationId xmlns:a16="http://schemas.microsoft.com/office/drawing/2014/main" id="{12F41868-21CF-49A9-B71C-29AB3B4894F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25"/>
          <a:stretch/>
        </p:blipFill>
        <p:spPr bwMode="auto">
          <a:xfrm>
            <a:off x="3852809" y="4078554"/>
            <a:ext cx="5147353" cy="2414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867654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C53C97-13EB-492A-9EF7-463A169B62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blems with data analysi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3EDA81-4943-47CE-B3FE-CFC64ED5E7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GB" b="1" dirty="0">
                <a:solidFill>
                  <a:schemeClr val="accent2"/>
                </a:solidFill>
              </a:rPr>
              <a:t>Fabrication </a:t>
            </a:r>
            <a:r>
              <a:rPr lang="en-GB" dirty="0"/>
              <a:t>of results (e.g., Michael LaCour)</a:t>
            </a:r>
          </a:p>
          <a:p>
            <a:endParaRPr lang="en-GB" dirty="0"/>
          </a:p>
          <a:p>
            <a:r>
              <a:rPr lang="en-GB" b="1" dirty="0">
                <a:solidFill>
                  <a:schemeClr val="accent2"/>
                </a:solidFill>
              </a:rPr>
              <a:t>‘p-hacking’: </a:t>
            </a:r>
            <a:r>
              <a:rPr lang="en-GB" dirty="0"/>
              <a:t>making analytical choices motivated by getting p below .05 (e.g., stopping data collection, excluding participants, removing outliers, transforming data, etc) </a:t>
            </a:r>
          </a:p>
          <a:p>
            <a:endParaRPr lang="en-GB" dirty="0"/>
          </a:p>
          <a:p>
            <a:r>
              <a:rPr lang="en-GB" b="1" dirty="0">
                <a:solidFill>
                  <a:schemeClr val="accent2"/>
                </a:solidFill>
              </a:rPr>
              <a:t>Garden of forking paths:</a:t>
            </a:r>
            <a:r>
              <a:rPr lang="en-GB" dirty="0"/>
              <a:t> wander around in your data, look for patterns, and then test promising ones for significance (</a:t>
            </a:r>
            <a:r>
              <a:rPr lang="en-GB" i="1" dirty="0"/>
              <a:t>strict rule</a:t>
            </a:r>
            <a:r>
              <a:rPr lang="en-GB" dirty="0"/>
              <a:t>: should not look at your data before making decisions on statistical tests)</a:t>
            </a:r>
          </a:p>
          <a:p>
            <a:endParaRPr lang="en-GB" dirty="0"/>
          </a:p>
          <a:p>
            <a:pPr marL="0" indent="0" algn="r">
              <a:buNone/>
            </a:pPr>
            <a:r>
              <a:rPr lang="en-US" altLang="en-US" i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“If you torture your data long enough, </a:t>
            </a:r>
            <a:br>
              <a:rPr lang="en-US" altLang="en-US" i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altLang="en-US" i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y will confess to anything.” -Ronald Coase</a:t>
            </a:r>
            <a:endParaRPr lang="en-US" altLang="en-US" sz="3200" i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21777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0AC641-7097-4595-AE94-BF3BC296D6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It is not just about (subtly) cheating with the dat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41B3B6-984E-416A-ADC3-EA86206A109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984DA2E-A000-446D-A954-ED4E9A5636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880" y="1968765"/>
            <a:ext cx="8778240" cy="2920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416901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0AC641-7097-4595-AE94-BF3BC296D6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90198"/>
            <a:ext cx="7886700" cy="1325563"/>
          </a:xfrm>
        </p:spPr>
        <p:txBody>
          <a:bodyPr/>
          <a:lstStyle/>
          <a:p>
            <a:r>
              <a:rPr lang="en-GB" dirty="0"/>
              <a:t>Data analysis is a creative proces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41B3B6-984E-416A-ADC3-EA86206A10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825624"/>
            <a:ext cx="7886700" cy="4521387"/>
          </a:xfrm>
        </p:spPr>
        <p:txBody>
          <a:bodyPr>
            <a:normAutofit lnSpcReduction="10000"/>
          </a:bodyPr>
          <a:lstStyle/>
          <a:p>
            <a:r>
              <a:rPr lang="en-GB" dirty="0"/>
              <a:t>29 teams of statisticians </a:t>
            </a:r>
            <a:br>
              <a:rPr lang="en-GB" dirty="0"/>
            </a:br>
            <a:r>
              <a:rPr lang="en-GB" dirty="0"/>
              <a:t>analysed same dataset</a:t>
            </a:r>
          </a:p>
          <a:p>
            <a:endParaRPr lang="en-GB" dirty="0"/>
          </a:p>
          <a:p>
            <a:r>
              <a:rPr lang="en-GB" i="1" dirty="0"/>
              <a:t>Question:</a:t>
            </a:r>
            <a:r>
              <a:rPr lang="en-GB" dirty="0"/>
              <a:t> are soccer referees more likely to give red cards to dark-skinned than light-skinned players?</a:t>
            </a:r>
          </a:p>
          <a:p>
            <a:endParaRPr lang="en-GB" dirty="0"/>
          </a:p>
          <a:p>
            <a:r>
              <a:rPr lang="en-GB" dirty="0"/>
              <a:t>2/3 of teams found significant difference, 1/3 did not , large differences in effect sizes – and all used defensible methods</a:t>
            </a:r>
          </a:p>
          <a:p>
            <a:r>
              <a:rPr lang="en-GB" dirty="0"/>
              <a:t>Usually, only few get done and one gets published – and it tends to favour the researche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984DA2E-A000-446D-A954-ED4E9A5636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59667" y="1405899"/>
            <a:ext cx="3984333" cy="1325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2718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DB6707-5A1B-48CB-94A2-6ED24560DC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mportance of pre-registr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9CEAF2-4EAE-4F33-B112-1AA520C327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2485649"/>
            <a:ext cx="7886700" cy="4007225"/>
          </a:xfrm>
        </p:spPr>
        <p:txBody>
          <a:bodyPr>
            <a:normAutofit/>
          </a:bodyPr>
          <a:lstStyle/>
          <a:p>
            <a:r>
              <a:rPr lang="en-GB" dirty="0"/>
              <a:t>Creates a public record before the start of data collection of all relevant analytical choices:</a:t>
            </a:r>
          </a:p>
          <a:p>
            <a:pPr lvl="1"/>
            <a:r>
              <a:rPr lang="en-GB" dirty="0"/>
              <a:t>How much data will be collected?</a:t>
            </a:r>
          </a:p>
          <a:p>
            <a:pPr lvl="1"/>
            <a:r>
              <a:rPr lang="en-GB" dirty="0"/>
              <a:t>How will the data be processed?</a:t>
            </a:r>
          </a:p>
          <a:p>
            <a:pPr lvl="1"/>
            <a:r>
              <a:rPr lang="en-GB" dirty="0"/>
              <a:t>What specific statistical tests will be run?</a:t>
            </a:r>
          </a:p>
          <a:p>
            <a:r>
              <a:rPr lang="en-GB" dirty="0"/>
              <a:t>Generally embargoed until publication, then visible</a:t>
            </a:r>
          </a:p>
          <a:p>
            <a:endParaRPr lang="en-GB" dirty="0"/>
          </a:p>
          <a:p>
            <a:r>
              <a:rPr lang="en-GB" dirty="0"/>
              <a:t>Prevents </a:t>
            </a:r>
            <a:r>
              <a:rPr lang="en-GB" i="1" dirty="0"/>
              <a:t>p-hacking </a:t>
            </a:r>
            <a:r>
              <a:rPr lang="en-GB" dirty="0"/>
              <a:t>and meandering in the </a:t>
            </a:r>
            <a:r>
              <a:rPr lang="en-GB" i="1" dirty="0"/>
              <a:t>garden of forking paths, </a:t>
            </a:r>
            <a:r>
              <a:rPr lang="en-GB" dirty="0"/>
              <a:t>unless people cheat</a:t>
            </a:r>
            <a:endParaRPr lang="en-GB" i="1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665CE4D-0983-4276-BDA1-06013A2774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8650" y="1457607"/>
            <a:ext cx="4181478" cy="81438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C9C444B-2CA1-4079-A25A-691C794FA7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38164" y="1457607"/>
            <a:ext cx="3613897" cy="844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14653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F7E474-1AA5-4604-A3A3-4293F5327F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producible researc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F57616-F685-4A75-B9C1-16943269F0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825624"/>
            <a:ext cx="7886700" cy="4667249"/>
          </a:xfrm>
        </p:spPr>
        <p:txBody>
          <a:bodyPr>
            <a:normAutofit/>
          </a:bodyPr>
          <a:lstStyle/>
          <a:p>
            <a:r>
              <a:rPr lang="en-GB" dirty="0"/>
              <a:t>Reproduction: independent researchers </a:t>
            </a:r>
            <a:br>
              <a:rPr lang="en-GB" dirty="0"/>
            </a:br>
            <a:r>
              <a:rPr lang="en-GB" dirty="0"/>
              <a:t>analyse </a:t>
            </a:r>
            <a:r>
              <a:rPr lang="en-GB" i="1" dirty="0"/>
              <a:t>the same dataset </a:t>
            </a:r>
            <a:r>
              <a:rPr lang="en-GB" dirty="0"/>
              <a:t>after publication</a:t>
            </a:r>
          </a:p>
          <a:p>
            <a:r>
              <a:rPr lang="en-GB" dirty="0"/>
              <a:t>Movement argues that any reader should be able to reproduce analysis in an article, so publish</a:t>
            </a:r>
          </a:p>
          <a:p>
            <a:pPr lvl="1"/>
            <a:r>
              <a:rPr lang="en-GB" dirty="0"/>
              <a:t>Traditional article</a:t>
            </a:r>
          </a:p>
          <a:p>
            <a:pPr lvl="1"/>
            <a:r>
              <a:rPr lang="en-GB" dirty="0"/>
              <a:t>Data</a:t>
            </a:r>
          </a:p>
          <a:p>
            <a:pPr lvl="1"/>
            <a:r>
              <a:rPr lang="en-GB" dirty="0"/>
              <a:t>Statistical analysis code</a:t>
            </a:r>
          </a:p>
          <a:p>
            <a:pPr lvl="1"/>
            <a:r>
              <a:rPr lang="en-GB" dirty="0"/>
              <a:t>Any description needed to apply code to data</a:t>
            </a:r>
          </a:p>
          <a:p>
            <a:r>
              <a:rPr lang="en-GB" dirty="0"/>
              <a:t>More advanced in many fields, e.g., Political Science, gaining momentum in psychology (challenge: use of SPSS)</a:t>
            </a:r>
          </a:p>
        </p:txBody>
      </p:sp>
    </p:spTree>
    <p:extLst>
      <p:ext uri="{BB962C8B-B14F-4D97-AF65-F5344CB8AC3E}">
        <p14:creationId xmlns:p14="http://schemas.microsoft.com/office/powerpoint/2010/main" val="24912633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5659CE-B9BF-4F3B-9835-0074C7D22B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ment for </a:t>
            </a:r>
            <a:br>
              <a:rPr lang="en-GB" dirty="0"/>
            </a:br>
            <a:r>
              <a:rPr lang="en-GB" dirty="0"/>
              <a:t>reproducible researc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BB2675-7D5A-4204-A669-ACA2365833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284E468-2436-42D0-BD7A-F93D03A125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8297" y="2357320"/>
            <a:ext cx="7439025" cy="307657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DEF7FB7-5B22-4681-852A-88EE5C0FE3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14745" y="1825624"/>
            <a:ext cx="5225593" cy="413996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633856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0C47DA-A0BA-45E0-A93C-5EFA3D740C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alse positives due to </a:t>
            </a:r>
            <a:br>
              <a:rPr lang="en-GB" dirty="0"/>
            </a:br>
            <a:r>
              <a:rPr lang="en-GB" dirty="0"/>
              <a:t>publication bia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924D5C1-73DC-43A2-8C3D-A317AF2147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73021A20-3B1A-4AAD-8081-0108E1A0193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7" y="1690689"/>
            <a:ext cx="4500563" cy="4941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01C883E-7143-4065-9D84-8CD2918AF3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1690690"/>
            <a:ext cx="4392612" cy="4941887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440484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106079-8E31-41CE-8076-CCA5C495CC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ow to combat this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B0077A-7E00-4808-99AB-376AD0B63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24560" y="5484018"/>
            <a:ext cx="6990790" cy="2747963"/>
          </a:xfrm>
        </p:spPr>
        <p:txBody>
          <a:bodyPr>
            <a:normAutofit/>
          </a:bodyPr>
          <a:lstStyle/>
          <a:p>
            <a:r>
              <a:rPr lang="en-GB" sz="2200" dirty="0"/>
              <a:t>If you read an experimental study that sounds interesting, you might want to have a look ther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236837-9126-4C34-9DF4-12E7EAC002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560" y="4459752"/>
            <a:ext cx="7153275" cy="91440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314DF648-2676-4F5C-9B89-35860E71BD18}"/>
              </a:ext>
            </a:extLst>
          </p:cNvPr>
          <p:cNvGrpSpPr/>
          <p:nvPr/>
        </p:nvGrpSpPr>
        <p:grpSpPr>
          <a:xfrm>
            <a:off x="1199589" y="1483848"/>
            <a:ext cx="7478246" cy="2581645"/>
            <a:chOff x="1037104" y="1690689"/>
            <a:chExt cx="7478246" cy="258164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6357C937-EAAC-41A3-90EE-C23147425CA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37104" y="2020062"/>
              <a:ext cx="7478246" cy="2252272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14C3FCA-AF11-4CBB-B9B3-4B4DADBE9B3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271837" y="1690689"/>
              <a:ext cx="2600325" cy="8001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015469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C88360-19A5-4636-B519-245D43A750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8161782" cy="1325563"/>
          </a:xfrm>
        </p:spPr>
        <p:txBody>
          <a:bodyPr>
            <a:normAutofit/>
          </a:bodyPr>
          <a:lstStyle/>
          <a:p>
            <a:r>
              <a:rPr lang="en-GB" sz="4000" dirty="0"/>
              <a:t>Two problems with standard statistic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0DA9D1-BFF4-4312-8E64-3C8738E82AB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Null-hypothesis significance testing mixes weakness of the study with absence of a difference</a:t>
            </a:r>
          </a:p>
          <a:p>
            <a:pPr lvl="1"/>
            <a:r>
              <a:rPr lang="en-GB" dirty="0"/>
              <a:t>A small sample size with a large effect can have the same </a:t>
            </a:r>
            <a:r>
              <a:rPr lang="en-GB" i="1" dirty="0"/>
              <a:t>p-</a:t>
            </a:r>
            <a:r>
              <a:rPr lang="en-GB" dirty="0"/>
              <a:t>value as a large sample with small effect</a:t>
            </a:r>
          </a:p>
          <a:p>
            <a:pPr lvl="1"/>
            <a:r>
              <a:rPr lang="en-GB" dirty="0"/>
              <a:t>So it is hard to assess what null findings are about</a:t>
            </a:r>
          </a:p>
          <a:p>
            <a:endParaRPr lang="en-GB" dirty="0"/>
          </a:p>
          <a:p>
            <a:r>
              <a:rPr lang="en-GB" dirty="0"/>
              <a:t>And: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35445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B2B0E5-A441-40F0-8B0E-78CD1EA6A2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Online Media 3" title="Is Most Published Research Wrong?">
            <a:hlinkClick r:id="" action="ppaction://media"/>
            <a:extLst>
              <a:ext uri="{FF2B5EF4-FFF2-40B4-BE49-F238E27FC236}">
                <a16:creationId xmlns:a16="http://schemas.microsoft.com/office/drawing/2014/main" id="{AB144F91-19F8-4372-8825-08B62042F0C9}"/>
              </a:ext>
            </a:extLst>
          </p:cNvPr>
          <p:cNvPicPr>
            <a:picLocks noGrp="1" noRot="1" noChangeAspect="1"/>
          </p:cNvPicPr>
          <p:nvPr>
            <p:ph idx="1"/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439830" y="1289190"/>
            <a:ext cx="8264339" cy="4648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37357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DFE2A4-D9D2-4233-ABEE-86206003D6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000" dirty="0"/>
              <a:t>Assumptions of quantitative research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E5C948A-4AD6-41D0-A2B8-DA9CCCAD30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90688"/>
            <a:ext cx="7130143" cy="4570412"/>
          </a:xfrm>
        </p:spPr>
        <p:txBody>
          <a:bodyPr>
            <a:normAutofit/>
          </a:bodyPr>
          <a:lstStyle/>
          <a:p>
            <a:r>
              <a:rPr lang="en-GB" b="1" dirty="0">
                <a:solidFill>
                  <a:schemeClr val="accent2"/>
                </a:solidFill>
              </a:rPr>
              <a:t>Ontology (what exists?):</a:t>
            </a:r>
          </a:p>
          <a:p>
            <a:pPr lvl="1"/>
            <a:r>
              <a:rPr lang="en-GB" dirty="0"/>
              <a:t>Things we want to study exist objectively</a:t>
            </a:r>
          </a:p>
          <a:p>
            <a:pPr lvl="1"/>
            <a:r>
              <a:rPr lang="en-GB" dirty="0"/>
              <a:t>There is an objective truth about relationships</a:t>
            </a:r>
          </a:p>
          <a:p>
            <a:pPr lvl="1"/>
            <a:r>
              <a:rPr lang="en-GB" dirty="0"/>
              <a:t>Those relationships are somewhat universal</a:t>
            </a:r>
          </a:p>
          <a:p>
            <a:pPr lvl="1"/>
            <a:r>
              <a:rPr lang="en-GB" i="1" dirty="0">
                <a:sym typeface="Wingdings" panose="05000000000000000000" pitchFamily="2" charset="2"/>
              </a:rPr>
              <a:t> Realism</a:t>
            </a:r>
            <a:endParaRPr lang="en-GB" i="1" dirty="0"/>
          </a:p>
          <a:p>
            <a:pPr lvl="1"/>
            <a:endParaRPr lang="en-GB" dirty="0"/>
          </a:p>
          <a:p>
            <a:r>
              <a:rPr lang="en-GB" b="1" dirty="0">
                <a:solidFill>
                  <a:schemeClr val="accent2"/>
                </a:solidFill>
              </a:rPr>
              <a:t>Epistemology (how can we know?):</a:t>
            </a:r>
          </a:p>
          <a:p>
            <a:pPr lvl="1"/>
            <a:r>
              <a:rPr lang="en-GB" dirty="0"/>
              <a:t>Can divide things into discrete categories,</a:t>
            </a:r>
            <a:br>
              <a:rPr lang="en-GB" dirty="0"/>
            </a:br>
            <a:r>
              <a:rPr lang="en-GB" dirty="0"/>
              <a:t>or describe them by small set of variables</a:t>
            </a:r>
          </a:p>
          <a:p>
            <a:pPr lvl="1"/>
            <a:r>
              <a:rPr lang="en-GB" dirty="0"/>
              <a:t>Can get progressively closer to truth through the scientific method</a:t>
            </a:r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50679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9AB46E-D87F-4453-9EAB-188730DE74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1490" y="494410"/>
            <a:ext cx="4337364" cy="1692794"/>
          </a:xfrm>
        </p:spPr>
        <p:txBody>
          <a:bodyPr>
            <a:normAutofit/>
          </a:bodyPr>
          <a:lstStyle/>
          <a:p>
            <a:r>
              <a:rPr lang="en-GB" sz="4400" dirty="0"/>
              <a:t>Task in pairs: </a:t>
            </a:r>
            <a:r>
              <a:rPr lang="en-GB" sz="4400" b="1" dirty="0" err="1"/>
              <a:t>Bem’s</a:t>
            </a:r>
            <a:r>
              <a:rPr lang="en-GB" sz="4400" b="1" dirty="0"/>
              <a:t> stud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9D5DD8-78A9-4378-991F-F5A6FFD4F6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1490" y="2187204"/>
            <a:ext cx="4734863" cy="3406778"/>
          </a:xfrm>
        </p:spPr>
        <p:txBody>
          <a:bodyPr>
            <a:noAutofit/>
          </a:bodyPr>
          <a:lstStyle/>
          <a:p>
            <a:pPr marL="10860" indent="0">
              <a:spcBef>
                <a:spcPts val="697"/>
              </a:spcBef>
              <a:buNone/>
              <a:tabLst>
                <a:tab pos="206336" algn="l"/>
              </a:tabLst>
            </a:pPr>
            <a:r>
              <a:rPr lang="en-GB" sz="2400" spc="51" dirty="0">
                <a:cs typeface="Trebuchet MS"/>
              </a:rPr>
              <a:t>2 minutes to discuss</a:t>
            </a:r>
          </a:p>
          <a:p>
            <a:pPr marL="10860" indent="0">
              <a:spcBef>
                <a:spcPts val="697"/>
              </a:spcBef>
              <a:buNone/>
              <a:tabLst>
                <a:tab pos="206336" algn="l"/>
              </a:tabLst>
            </a:pPr>
            <a:endParaRPr lang="en-GB" sz="1800" spc="51" dirty="0">
              <a:cs typeface="Trebuchet MS"/>
            </a:endParaRPr>
          </a:p>
          <a:p>
            <a:pPr marL="206336" indent="-195476">
              <a:spcBef>
                <a:spcPts val="697"/>
              </a:spcBef>
              <a:buFont typeface="Arial"/>
              <a:buChar char="•"/>
              <a:tabLst>
                <a:tab pos="206336" algn="l"/>
              </a:tabLst>
            </a:pPr>
            <a:r>
              <a:rPr lang="en-GB" sz="2200" spc="51" dirty="0">
                <a:cs typeface="Trebuchet MS"/>
              </a:rPr>
              <a:t>What, if anything, was wrong with publishing </a:t>
            </a:r>
            <a:r>
              <a:rPr lang="en-GB" sz="2200" spc="51" dirty="0" err="1">
                <a:cs typeface="Trebuchet MS"/>
              </a:rPr>
              <a:t>Bem’s</a:t>
            </a:r>
            <a:r>
              <a:rPr lang="en-GB" sz="2200" spc="51" dirty="0">
                <a:cs typeface="Trebuchet MS"/>
              </a:rPr>
              <a:t> study (based on what you know now)?</a:t>
            </a:r>
          </a:p>
          <a:p>
            <a:pPr marL="206336" indent="-195476">
              <a:spcBef>
                <a:spcPts val="697"/>
              </a:spcBef>
              <a:buFont typeface="Arial"/>
              <a:buChar char="•"/>
              <a:tabLst>
                <a:tab pos="206336" algn="l"/>
              </a:tabLst>
            </a:pPr>
            <a:endParaRPr lang="en-GB" sz="1800" spc="51" dirty="0">
              <a:cs typeface="Trebuchet M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BED6A45-4879-448B-9D73-13C1EE7F87F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3295" r="17663"/>
          <a:stretch/>
        </p:blipFill>
        <p:spPr>
          <a:xfrm>
            <a:off x="4997859" y="13"/>
            <a:ext cx="4734863" cy="6857987"/>
          </a:xfrm>
          <a:custGeom>
            <a:avLst/>
            <a:gdLst>
              <a:gd name="connsiteX0" fmla="*/ 65565 w 6313150"/>
              <a:gd name="connsiteY0" fmla="*/ 0 h 6857997"/>
              <a:gd name="connsiteX1" fmla="*/ 6313150 w 6313150"/>
              <a:gd name="connsiteY1" fmla="*/ 0 h 6857997"/>
              <a:gd name="connsiteX2" fmla="*/ 6313150 w 6313150"/>
              <a:gd name="connsiteY2" fmla="*/ 6857997 h 6857997"/>
              <a:gd name="connsiteX3" fmla="*/ 3293946 w 6313150"/>
              <a:gd name="connsiteY3" fmla="*/ 6857997 h 6857997"/>
              <a:gd name="connsiteX4" fmla="*/ 3235857 w 6313150"/>
              <a:gd name="connsiteY4" fmla="*/ 6823061 h 6857997"/>
              <a:gd name="connsiteX5" fmla="*/ 0 w 6313150"/>
              <a:gd name="connsiteY5" fmla="*/ 951803 h 6857997"/>
              <a:gd name="connsiteX6" fmla="*/ 31536 w 6313150"/>
              <a:gd name="connsiteY6" fmla="*/ 285771 h 6857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13150" h="6857997">
                <a:moveTo>
                  <a:pt x="65565" y="0"/>
                </a:moveTo>
                <a:lnTo>
                  <a:pt x="6313150" y="0"/>
                </a:lnTo>
                <a:lnTo>
                  <a:pt x="6313150" y="6857997"/>
                </a:lnTo>
                <a:lnTo>
                  <a:pt x="3293946" y="6857997"/>
                </a:lnTo>
                <a:lnTo>
                  <a:pt x="3235857" y="6823061"/>
                </a:lnTo>
                <a:cubicBezTo>
                  <a:pt x="1291240" y="5592803"/>
                  <a:pt x="0" y="3423096"/>
                  <a:pt x="0" y="951803"/>
                </a:cubicBezTo>
                <a:cubicBezTo>
                  <a:pt x="0" y="727140"/>
                  <a:pt x="10673" y="504970"/>
                  <a:pt x="31536" y="285771"/>
                </a:cubicBezTo>
                <a:close/>
              </a:path>
            </a:pathLst>
          </a:custGeom>
        </p:spPr>
      </p:pic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D0E2854A-56EA-4266-A69E-F159B11411D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496" y="4374395"/>
            <a:ext cx="7631007" cy="180166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9531375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C88360-19A5-4636-B519-245D43A750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8161782" cy="1325563"/>
          </a:xfrm>
        </p:spPr>
        <p:txBody>
          <a:bodyPr>
            <a:normAutofit/>
          </a:bodyPr>
          <a:lstStyle/>
          <a:p>
            <a:r>
              <a:rPr lang="en-GB" sz="4000" dirty="0"/>
              <a:t>Two problems with standard statistic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0DA9D1-BFF4-4312-8E64-3C8738E82A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508632"/>
            <a:ext cx="7886700" cy="4984241"/>
          </a:xfrm>
        </p:spPr>
        <p:txBody>
          <a:bodyPr>
            <a:normAutofit lnSpcReduction="10000"/>
          </a:bodyPr>
          <a:lstStyle/>
          <a:p>
            <a:r>
              <a:rPr lang="en-GB" dirty="0"/>
              <a:t>Null-hypothesis significance testing mixes weakness of the study with absence of a difference</a:t>
            </a:r>
          </a:p>
          <a:p>
            <a:pPr lvl="1"/>
            <a:r>
              <a:rPr lang="en-GB" dirty="0"/>
              <a:t>A small sample size with a large effect can have the same </a:t>
            </a:r>
            <a:r>
              <a:rPr lang="en-GB" i="1" dirty="0"/>
              <a:t>p-</a:t>
            </a:r>
            <a:r>
              <a:rPr lang="en-GB" dirty="0"/>
              <a:t>value as a large sample with small effect</a:t>
            </a:r>
          </a:p>
          <a:p>
            <a:pPr lvl="1"/>
            <a:r>
              <a:rPr lang="en-GB" dirty="0"/>
              <a:t>So it is hard to assess what null findings are about</a:t>
            </a:r>
          </a:p>
          <a:p>
            <a:endParaRPr lang="en-GB" dirty="0"/>
          </a:p>
          <a:p>
            <a:pPr marL="0" indent="0">
              <a:buNone/>
            </a:pPr>
            <a:r>
              <a:rPr lang="en-GB" dirty="0"/>
              <a:t>And:</a:t>
            </a:r>
          </a:p>
          <a:p>
            <a:r>
              <a:rPr lang="en-GB" dirty="0"/>
              <a:t>Does not consider </a:t>
            </a:r>
            <a:r>
              <a:rPr lang="en-GB" i="1" dirty="0"/>
              <a:t>prior</a:t>
            </a:r>
            <a:r>
              <a:rPr lang="en-GB" dirty="0"/>
              <a:t> probabilities, which we probably should for extremely unlikely hypotheses</a:t>
            </a:r>
          </a:p>
          <a:p>
            <a:endParaRPr lang="en-GB" dirty="0"/>
          </a:p>
          <a:p>
            <a:r>
              <a:rPr lang="en-GB" dirty="0"/>
              <a:t>Bayesian statistics helps with both issues – </a:t>
            </a:r>
            <a:br>
              <a:rPr lang="en-GB" dirty="0"/>
            </a:br>
            <a:r>
              <a:rPr lang="en-GB" dirty="0"/>
              <a:t>something for another course</a:t>
            </a:r>
          </a:p>
        </p:txBody>
      </p:sp>
    </p:spTree>
    <p:extLst>
      <p:ext uri="{BB962C8B-B14F-4D97-AF65-F5344CB8AC3E}">
        <p14:creationId xmlns:p14="http://schemas.microsoft.com/office/powerpoint/2010/main" val="20231122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7B9796-0877-4401-80CA-B103329CC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to do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AD65616-335C-4298-95F1-28ABCBEFFE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664873"/>
            <a:ext cx="7886700" cy="4351338"/>
          </a:xfrm>
        </p:spPr>
        <p:txBody>
          <a:bodyPr>
            <a:normAutofit fontScale="92500" lnSpcReduction="10000"/>
          </a:bodyPr>
          <a:lstStyle/>
          <a:p>
            <a:r>
              <a:rPr lang="en-GB" dirty="0"/>
              <a:t>When you like an experiment, search for replications and meta-analyses</a:t>
            </a:r>
          </a:p>
          <a:p>
            <a:pPr lvl="1"/>
            <a:r>
              <a:rPr lang="en-GB" dirty="0"/>
              <a:t>If there are none, treat it as an interesting idea</a:t>
            </a:r>
          </a:p>
          <a:p>
            <a:pPr lvl="1"/>
            <a:endParaRPr lang="en-GB" dirty="0"/>
          </a:p>
          <a:p>
            <a:r>
              <a:rPr lang="en-GB" dirty="0"/>
              <a:t>Don’t believe a theory that is </a:t>
            </a:r>
            <a:br>
              <a:rPr lang="en-GB" dirty="0"/>
            </a:br>
            <a:r>
              <a:rPr lang="en-GB" dirty="0"/>
              <a:t>based on a single experiment</a:t>
            </a:r>
          </a:p>
          <a:p>
            <a:endParaRPr lang="en-GB" dirty="0"/>
          </a:p>
          <a:p>
            <a:r>
              <a:rPr lang="en-GB" dirty="0"/>
              <a:t>Don’t treat a failed replication as a killer argument</a:t>
            </a:r>
          </a:p>
          <a:p>
            <a:pPr lvl="1"/>
            <a:endParaRPr lang="en-GB" dirty="0"/>
          </a:p>
          <a:p>
            <a:r>
              <a:rPr lang="en-GB" dirty="0"/>
              <a:t>Notice when articles report that the analyses were preregistered – it should increase our confidence</a:t>
            </a:r>
          </a:p>
        </p:txBody>
      </p:sp>
    </p:spTree>
    <p:extLst>
      <p:ext uri="{BB962C8B-B14F-4D97-AF65-F5344CB8AC3E}">
        <p14:creationId xmlns:p14="http://schemas.microsoft.com/office/powerpoint/2010/main" val="16785974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DFE2A4-D9D2-4233-ABEE-86206003D6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000" dirty="0"/>
              <a:t>So social science is about: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E5C948A-4AD6-41D0-A2B8-DA9CCCAD30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90688"/>
            <a:ext cx="5254375" cy="4570412"/>
          </a:xfrm>
        </p:spPr>
        <p:txBody>
          <a:bodyPr>
            <a:normAutofit/>
          </a:bodyPr>
          <a:lstStyle/>
          <a:p>
            <a:r>
              <a:rPr lang="en-GB" b="1" dirty="0">
                <a:solidFill>
                  <a:schemeClr val="accent2"/>
                </a:solidFill>
              </a:rPr>
              <a:t>Unbiased </a:t>
            </a:r>
            <a:r>
              <a:rPr lang="en-GB" dirty="0"/>
              <a:t>systematic observation</a:t>
            </a:r>
          </a:p>
          <a:p>
            <a:r>
              <a:rPr lang="en-GB" dirty="0"/>
              <a:t>Developing hypotheses and making progress through </a:t>
            </a:r>
            <a:r>
              <a:rPr lang="en-GB" b="1" dirty="0">
                <a:solidFill>
                  <a:schemeClr val="accent2"/>
                </a:solidFill>
              </a:rPr>
              <a:t>falsification</a:t>
            </a:r>
            <a:endParaRPr lang="en-GB" b="1" dirty="0"/>
          </a:p>
          <a:p>
            <a:r>
              <a:rPr lang="en-GB" dirty="0"/>
              <a:t>Generation of </a:t>
            </a:r>
            <a:r>
              <a:rPr lang="en-GB" b="1" dirty="0">
                <a:solidFill>
                  <a:schemeClr val="accent2"/>
                </a:solidFill>
              </a:rPr>
              <a:t>objective facts </a:t>
            </a:r>
            <a:r>
              <a:rPr lang="en-GB" dirty="0"/>
              <a:t>and general laws (‘human nature’)</a:t>
            </a:r>
          </a:p>
          <a:p>
            <a:r>
              <a:rPr lang="en-GB" dirty="0"/>
              <a:t>Strive for </a:t>
            </a:r>
            <a:r>
              <a:rPr lang="en-GB" b="1" dirty="0">
                <a:solidFill>
                  <a:schemeClr val="accent2"/>
                </a:solidFill>
              </a:rPr>
              <a:t>causal explanation </a:t>
            </a:r>
            <a:r>
              <a:rPr lang="en-GB" dirty="0"/>
              <a:t>(thus need for control and experiments)</a:t>
            </a:r>
          </a:p>
          <a:p>
            <a:pPr lvl="1"/>
            <a:endParaRPr lang="en-GB" dirty="0"/>
          </a:p>
        </p:txBody>
      </p:sp>
      <p:pic>
        <p:nvPicPr>
          <p:cNvPr id="4098" name="Picture 2" descr="Image result for lab coat">
            <a:extLst>
              <a:ext uri="{FF2B5EF4-FFF2-40B4-BE49-F238E27FC236}">
                <a16:creationId xmlns:a16="http://schemas.microsoft.com/office/drawing/2014/main" id="{07BC19A5-9B3B-497C-BB22-9631D93D88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4892" y="2106202"/>
            <a:ext cx="3086638" cy="47517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011089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13A4CA-DFE2-46F9-AE18-EE6A1582C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qualitative critiqu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0A523B-45ED-4B5A-A730-A816E22135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496458"/>
            <a:ext cx="4857750" cy="4996416"/>
          </a:xfrm>
        </p:spPr>
        <p:txBody>
          <a:bodyPr>
            <a:normAutofit fontScale="92500" lnSpcReduction="10000"/>
          </a:bodyPr>
          <a:lstStyle/>
          <a:p>
            <a:r>
              <a:rPr lang="en-GB" dirty="0"/>
              <a:t>Is there really an objective reality where “prejudice” and “beauty” exist?</a:t>
            </a:r>
          </a:p>
          <a:p>
            <a:r>
              <a:rPr lang="en-GB" dirty="0"/>
              <a:t>Or are we collectively creating these things through language? (</a:t>
            </a:r>
            <a:r>
              <a:rPr lang="en-GB" dirty="0">
                <a:solidFill>
                  <a:schemeClr val="accent2"/>
                </a:solidFill>
              </a:rPr>
              <a:t>Social constructionism</a:t>
            </a:r>
            <a:r>
              <a:rPr lang="en-GB" dirty="0"/>
              <a:t>)</a:t>
            </a:r>
          </a:p>
          <a:p>
            <a:r>
              <a:rPr lang="en-GB" dirty="0"/>
              <a:t>Can we study individuals in an unbiased lab? Or are we always located in society?</a:t>
            </a:r>
          </a:p>
          <a:p>
            <a:r>
              <a:rPr lang="en-GB" dirty="0"/>
              <a:t>Can there be a neutral observer? Or are there always power dynamics (race, gender, class, disability, sexuality …)?</a:t>
            </a:r>
          </a:p>
        </p:txBody>
      </p:sp>
      <p:pic>
        <p:nvPicPr>
          <p:cNvPr id="6146" name="Picture 2" descr="Image result for informal conversation two men">
            <a:extLst>
              <a:ext uri="{FF2B5EF4-FFF2-40B4-BE49-F238E27FC236}">
                <a16:creationId xmlns:a16="http://schemas.microsoft.com/office/drawing/2014/main" id="{7EB653BB-A9AE-433B-9424-C55CA484197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753" r="10312"/>
          <a:stretch/>
        </p:blipFill>
        <p:spPr bwMode="auto">
          <a:xfrm>
            <a:off x="5673260" y="1920874"/>
            <a:ext cx="3470740" cy="45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08150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9AB46E-D87F-4453-9EAB-188730DE74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1490" y="494410"/>
            <a:ext cx="4337364" cy="1692794"/>
          </a:xfrm>
        </p:spPr>
        <p:txBody>
          <a:bodyPr>
            <a:normAutofit fontScale="90000"/>
          </a:bodyPr>
          <a:lstStyle/>
          <a:p>
            <a:r>
              <a:rPr lang="en-GB" sz="4400" dirty="0"/>
              <a:t>Task in threes: </a:t>
            </a:r>
            <a:r>
              <a:rPr lang="en-GB" sz="4400" b="1" dirty="0"/>
              <a:t>scientific psycholog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9D5DD8-78A9-4378-991F-F5A6FFD4F6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1490" y="2187204"/>
            <a:ext cx="4734863" cy="3406778"/>
          </a:xfrm>
        </p:spPr>
        <p:txBody>
          <a:bodyPr>
            <a:noAutofit/>
          </a:bodyPr>
          <a:lstStyle/>
          <a:p>
            <a:pPr marL="10860" indent="0">
              <a:spcBef>
                <a:spcPts val="697"/>
              </a:spcBef>
              <a:buNone/>
              <a:tabLst>
                <a:tab pos="206336" algn="l"/>
              </a:tabLst>
            </a:pPr>
            <a:r>
              <a:rPr lang="en-GB" sz="2400" spc="51" dirty="0">
                <a:cs typeface="Trebuchet MS"/>
              </a:rPr>
              <a:t>4 minutes to discuss</a:t>
            </a:r>
          </a:p>
          <a:p>
            <a:pPr marL="10860" indent="0">
              <a:spcBef>
                <a:spcPts val="697"/>
              </a:spcBef>
              <a:buNone/>
              <a:tabLst>
                <a:tab pos="206336" algn="l"/>
              </a:tabLst>
            </a:pPr>
            <a:endParaRPr lang="en-GB" sz="1800" spc="51" dirty="0">
              <a:cs typeface="Trebuchet MS"/>
            </a:endParaRPr>
          </a:p>
          <a:p>
            <a:pPr marL="206336" indent="-195476">
              <a:spcBef>
                <a:spcPts val="697"/>
              </a:spcBef>
              <a:buFont typeface="Arial"/>
              <a:buChar char="•"/>
              <a:tabLst>
                <a:tab pos="206336" algn="l"/>
              </a:tabLst>
            </a:pPr>
            <a:r>
              <a:rPr lang="en-GB" sz="2200" spc="51" dirty="0">
                <a:cs typeface="Trebuchet MS"/>
              </a:rPr>
              <a:t>Can human activity be captured sufficiently by scientific methods (e.g., experiments, questionnaires)?</a:t>
            </a:r>
          </a:p>
          <a:p>
            <a:pPr marL="206336" indent="-195476">
              <a:spcBef>
                <a:spcPts val="697"/>
              </a:spcBef>
              <a:buFont typeface="Arial"/>
              <a:buChar char="•"/>
              <a:tabLst>
                <a:tab pos="206336" algn="l"/>
              </a:tabLst>
            </a:pPr>
            <a:endParaRPr lang="en-GB" sz="1800" spc="51" dirty="0">
              <a:cs typeface="Trebuchet MS"/>
            </a:endParaRPr>
          </a:p>
          <a:p>
            <a:pPr marL="206336" indent="-195476">
              <a:spcBef>
                <a:spcPts val="697"/>
              </a:spcBef>
              <a:buFont typeface="Arial"/>
              <a:buChar char="•"/>
              <a:tabLst>
                <a:tab pos="206336" algn="l"/>
              </a:tabLst>
            </a:pPr>
            <a:r>
              <a:rPr lang="en-GB" sz="2200" spc="51" dirty="0">
                <a:cs typeface="Trebuchet MS"/>
              </a:rPr>
              <a:t>Can you give examples of behaviours that you think </a:t>
            </a:r>
            <a:r>
              <a:rPr lang="en-GB" sz="2200" i="1" spc="51" dirty="0">
                <a:cs typeface="Trebuchet MS"/>
              </a:rPr>
              <a:t>can</a:t>
            </a:r>
            <a:r>
              <a:rPr lang="en-GB" sz="2200" spc="51" dirty="0">
                <a:cs typeface="Trebuchet MS"/>
              </a:rPr>
              <a:t> and </a:t>
            </a:r>
            <a:r>
              <a:rPr lang="en-GB" sz="2200" i="1" spc="51" dirty="0">
                <a:cs typeface="Trebuchet MS"/>
              </a:rPr>
              <a:t>cannot </a:t>
            </a:r>
            <a:r>
              <a:rPr lang="en-GB" sz="2200" spc="51" dirty="0">
                <a:cs typeface="Trebuchet MS"/>
              </a:rPr>
              <a:t>be measured and predicted?</a:t>
            </a:r>
          </a:p>
          <a:p>
            <a:pPr marL="206336" indent="-195476">
              <a:spcBef>
                <a:spcPts val="697"/>
              </a:spcBef>
              <a:buFont typeface="Arial"/>
              <a:buChar char="•"/>
              <a:tabLst>
                <a:tab pos="206336" algn="l"/>
              </a:tabLst>
            </a:pPr>
            <a:endParaRPr lang="en-GB" sz="1800" spc="51" dirty="0">
              <a:cs typeface="Trebuchet MS"/>
            </a:endParaRPr>
          </a:p>
          <a:p>
            <a:pPr marL="10860" indent="0">
              <a:spcBef>
                <a:spcPts val="697"/>
              </a:spcBef>
              <a:buNone/>
              <a:tabLst>
                <a:tab pos="206336" algn="l"/>
              </a:tabLst>
            </a:pPr>
            <a:r>
              <a:rPr lang="en-GB" sz="2400" spc="51" dirty="0">
                <a:cs typeface="Trebuchet MS"/>
              </a:rPr>
              <a:t>Decide on one person to report back</a:t>
            </a:r>
            <a:endParaRPr lang="en-GB" sz="2400" dirty="0">
              <a:cs typeface="Trebuchet M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BED6A45-4879-448B-9D73-13C1EE7F87F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295" r="17663"/>
          <a:stretch/>
        </p:blipFill>
        <p:spPr>
          <a:xfrm>
            <a:off x="4997859" y="13"/>
            <a:ext cx="4734863" cy="6857987"/>
          </a:xfrm>
          <a:custGeom>
            <a:avLst/>
            <a:gdLst>
              <a:gd name="connsiteX0" fmla="*/ 65565 w 6313150"/>
              <a:gd name="connsiteY0" fmla="*/ 0 h 6857997"/>
              <a:gd name="connsiteX1" fmla="*/ 6313150 w 6313150"/>
              <a:gd name="connsiteY1" fmla="*/ 0 h 6857997"/>
              <a:gd name="connsiteX2" fmla="*/ 6313150 w 6313150"/>
              <a:gd name="connsiteY2" fmla="*/ 6857997 h 6857997"/>
              <a:gd name="connsiteX3" fmla="*/ 3293946 w 6313150"/>
              <a:gd name="connsiteY3" fmla="*/ 6857997 h 6857997"/>
              <a:gd name="connsiteX4" fmla="*/ 3235857 w 6313150"/>
              <a:gd name="connsiteY4" fmla="*/ 6823061 h 6857997"/>
              <a:gd name="connsiteX5" fmla="*/ 0 w 6313150"/>
              <a:gd name="connsiteY5" fmla="*/ 951803 h 6857997"/>
              <a:gd name="connsiteX6" fmla="*/ 31536 w 6313150"/>
              <a:gd name="connsiteY6" fmla="*/ 285771 h 6857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13150" h="6857997">
                <a:moveTo>
                  <a:pt x="65565" y="0"/>
                </a:moveTo>
                <a:lnTo>
                  <a:pt x="6313150" y="0"/>
                </a:lnTo>
                <a:lnTo>
                  <a:pt x="6313150" y="6857997"/>
                </a:lnTo>
                <a:lnTo>
                  <a:pt x="3293946" y="6857997"/>
                </a:lnTo>
                <a:lnTo>
                  <a:pt x="3235857" y="6823061"/>
                </a:lnTo>
                <a:cubicBezTo>
                  <a:pt x="1291240" y="5592803"/>
                  <a:pt x="0" y="3423096"/>
                  <a:pt x="0" y="951803"/>
                </a:cubicBezTo>
                <a:cubicBezTo>
                  <a:pt x="0" y="727140"/>
                  <a:pt x="10673" y="504970"/>
                  <a:pt x="31536" y="285771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4609560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13A4CA-DFE2-46F9-AE18-EE6A1582C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happens in a lab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0A523B-45ED-4B5A-A730-A816E22135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49" y="1564004"/>
            <a:ext cx="3552933" cy="2350451"/>
          </a:xfrm>
        </p:spPr>
        <p:txBody>
          <a:bodyPr>
            <a:normAutofit fontScale="92500" lnSpcReduction="20000"/>
          </a:bodyPr>
          <a:lstStyle/>
          <a:p>
            <a:r>
              <a:rPr lang="en-GB" dirty="0"/>
              <a:t>Unusual setting where individuals have a very special social role: “subject”</a:t>
            </a:r>
          </a:p>
          <a:p>
            <a:r>
              <a:rPr lang="en-GB" dirty="0"/>
              <a:t>So schema is to be compliant and show no initiativ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058126A-6A59-4925-BA21-427446597C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4040" y="1564004"/>
            <a:ext cx="4418444" cy="235045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CACEA06-FF20-43E2-B799-73174611780E}"/>
              </a:ext>
            </a:extLst>
          </p:cNvPr>
          <p:cNvSpPr txBox="1">
            <a:spLocks/>
          </p:cNvSpPr>
          <p:nvPr/>
        </p:nvSpPr>
        <p:spPr>
          <a:xfrm>
            <a:off x="628650" y="4266108"/>
            <a:ext cx="4857750" cy="23504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600" dirty="0"/>
              <a:t>Outside the lab, issues are always in a specific context</a:t>
            </a:r>
          </a:p>
          <a:p>
            <a:r>
              <a:rPr lang="en-GB" sz="2600" dirty="0"/>
              <a:t>So what can lab experiments contribute to our understanding of real-life processes? </a:t>
            </a:r>
            <a:br>
              <a:rPr lang="en-GB" sz="2600" dirty="0"/>
            </a:br>
            <a:r>
              <a:rPr lang="en-GB" sz="2600" dirty="0"/>
              <a:t>(</a:t>
            </a:r>
            <a:r>
              <a:rPr lang="en-GB" sz="2600" dirty="0">
                <a:solidFill>
                  <a:schemeClr val="accent2"/>
                </a:solidFill>
              </a:rPr>
              <a:t>Ecological validity</a:t>
            </a:r>
            <a:r>
              <a:rPr lang="en-GB" sz="2600" dirty="0"/>
              <a:t>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43688B0-970A-45AC-970B-EFE07E68E32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2288" y="4379665"/>
            <a:ext cx="3380196" cy="223689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4188089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644893"/>
            <a:ext cx="3803151" cy="3124200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en-GB" altLang="en-US" sz="2600" b="1" dirty="0">
                <a:solidFill>
                  <a:schemeClr val="accent1"/>
                </a:solidFill>
              </a:rPr>
              <a:t>Demand characteristics:</a:t>
            </a:r>
          </a:p>
          <a:p>
            <a:pPr lvl="1"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altLang="en-US" sz="2600" dirty="0"/>
              <a:t>participants have expectations and/or read cues about what is expected, how they are supposed to act</a:t>
            </a:r>
          </a:p>
          <a:p>
            <a:endParaRPr lang="en-GB" sz="2600" dirty="0"/>
          </a:p>
        </p:txBody>
      </p:sp>
      <p:pic>
        <p:nvPicPr>
          <p:cNvPr id="1026" name="Picture 2" descr="C:\Users\06009\Documents\PSY4003 - Social Psychology (&amp; PCF4003)\Images &amp; Gifs\experimenter bias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184" y="577876"/>
            <a:ext cx="7889603" cy="6280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157213" y="3792802"/>
            <a:ext cx="8680784" cy="15234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altLang="en-US" sz="2600" b="1" dirty="0">
                <a:solidFill>
                  <a:schemeClr val="accent1"/>
                </a:solidFill>
                <a:latin typeface="Calibri (body)"/>
              </a:rPr>
              <a:t>Experimenter bias:</a:t>
            </a:r>
            <a:r>
              <a:rPr lang="en-GB" altLang="en-US" sz="2600" dirty="0">
                <a:solidFill>
                  <a:schemeClr val="accent1"/>
                </a:solidFill>
                <a:latin typeface="Calibri (body)"/>
              </a:rPr>
              <a:t> </a:t>
            </a:r>
          </a:p>
          <a:p>
            <a:pPr marL="914400" lvl="1" indent="-457200"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altLang="en-US" sz="2600" dirty="0">
                <a:latin typeface="Calibri (body)"/>
              </a:rPr>
              <a:t>knowledge of the research hypothesis may subtly and unintentionally influence how participants are treated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6018478-A6EC-43DC-B18B-63AA72A33C48}"/>
              </a:ext>
            </a:extLst>
          </p:cNvPr>
          <p:cNvSpPr/>
          <p:nvPr/>
        </p:nvSpPr>
        <p:spPr>
          <a:xfrm>
            <a:off x="3578508" y="5689483"/>
            <a:ext cx="5514253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en-GB" altLang="en-US" sz="2600" b="1" dirty="0">
                <a:solidFill>
                  <a:schemeClr val="accent1"/>
                </a:solidFill>
                <a:latin typeface="Calibri (body)"/>
                <a:sym typeface="Wingdings" panose="05000000000000000000" pitchFamily="2" charset="2"/>
              </a:rPr>
              <a:t> Need for double-blind experiments</a:t>
            </a:r>
            <a:br>
              <a:rPr lang="en-GB" altLang="en-US" sz="2600" b="1" dirty="0">
                <a:solidFill>
                  <a:schemeClr val="accent1"/>
                </a:solidFill>
                <a:latin typeface="Calibri (body)"/>
                <a:sym typeface="Wingdings" panose="05000000000000000000" pitchFamily="2" charset="2"/>
              </a:rPr>
            </a:br>
            <a:r>
              <a:rPr lang="en-GB" altLang="en-US" sz="2600" b="1" dirty="0">
                <a:solidFill>
                  <a:schemeClr val="accent1"/>
                </a:solidFill>
                <a:latin typeface="Calibri (body)"/>
                <a:sym typeface="Wingdings" panose="05000000000000000000" pitchFamily="2" charset="2"/>
              </a:rPr>
              <a:t>     </a:t>
            </a:r>
            <a:r>
              <a:rPr lang="en-GB" altLang="en-US" sz="2600" dirty="0">
                <a:solidFill>
                  <a:schemeClr val="accent1"/>
                </a:solidFill>
                <a:latin typeface="Calibri (body)"/>
                <a:sym typeface="Wingdings" panose="05000000000000000000" pitchFamily="2" charset="2"/>
              </a:rPr>
              <a:t>where possible</a:t>
            </a:r>
            <a:endParaRPr lang="en-GB" altLang="en-US" sz="2600" dirty="0">
              <a:latin typeface="Calibri (body)"/>
            </a:endParaRPr>
          </a:p>
        </p:txBody>
      </p:sp>
    </p:spTree>
    <p:extLst>
      <p:ext uri="{BB962C8B-B14F-4D97-AF65-F5344CB8AC3E}">
        <p14:creationId xmlns:p14="http://schemas.microsoft.com/office/powerpoint/2010/main" val="15735683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1000" fill="hold"/>
                                        <p:tgtEl>
                                          <p:spTgt spid="1026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2118 -0.20556 L 1.11111E-6 0.25 " pathEditMode="relative" rAng="0" ptsTypes="AA">
                                      <p:cBhvr>
                                        <p:cTn id="8" dur="1000" spd="-100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590" y="2277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9</TotalTime>
  <Words>2406</Words>
  <Application>Microsoft Office PowerPoint</Application>
  <PresentationFormat>On-screen Show (4:3)</PresentationFormat>
  <Paragraphs>259</Paragraphs>
  <Slides>42</Slides>
  <Notes>15</Notes>
  <HiddenSlides>0</HiddenSlides>
  <MMClips>2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50" baseType="lpstr">
      <vt:lpstr>Arial</vt:lpstr>
      <vt:lpstr>Calibri</vt:lpstr>
      <vt:lpstr>Calibri (body)</vt:lpstr>
      <vt:lpstr>Calibri Light</vt:lpstr>
      <vt:lpstr>Georgia</vt:lpstr>
      <vt:lpstr>Times New Roman</vt:lpstr>
      <vt:lpstr>Office Theme</vt:lpstr>
      <vt:lpstr>think-cell Slide</vt:lpstr>
      <vt:lpstr>PowerPoint Presentation</vt:lpstr>
      <vt:lpstr>Our plan for today</vt:lpstr>
      <vt:lpstr>Psychology as a science</vt:lpstr>
      <vt:lpstr>Assumptions of quantitative research</vt:lpstr>
      <vt:lpstr>So social science is about:</vt:lpstr>
      <vt:lpstr>The qualitative critique</vt:lpstr>
      <vt:lpstr>Task in threes: scientific psychology</vt:lpstr>
      <vt:lpstr>What happens in a lab?</vt:lpstr>
      <vt:lpstr>PowerPoint Presentation</vt:lpstr>
      <vt:lpstr>Narrow participant pool (See: McVittie &amp; McKinley, 2008)</vt:lpstr>
      <vt:lpstr>An extreme example</vt:lpstr>
      <vt:lpstr>An extreme example</vt:lpstr>
      <vt:lpstr>Criticism: Individualistic</vt:lpstr>
      <vt:lpstr>So what’s the problem?</vt:lpstr>
      <vt:lpstr>Criticism: Constraining choice</vt:lpstr>
      <vt:lpstr>Criticism: Dehumanization</vt:lpstr>
      <vt:lpstr>An alternative view:  Social Constructionism</vt:lpstr>
      <vt:lpstr>The active role of language </vt:lpstr>
      <vt:lpstr>Task in threes: media language</vt:lpstr>
      <vt:lpstr>PowerPoint Presentation</vt:lpstr>
      <vt:lpstr>Task in threes: media language</vt:lpstr>
      <vt:lpstr>Two ways of dealing with critiques</vt:lpstr>
      <vt:lpstr>Some arguments to redeem quantitative social psychology</vt:lpstr>
      <vt:lpstr>Our plan for today</vt:lpstr>
      <vt:lpstr>Replication crisis</vt:lpstr>
      <vt:lpstr>Some well-known theories that are in doubt or debunked</vt:lpstr>
      <vt:lpstr>Insight from replications is limited</vt:lpstr>
      <vt:lpstr>Types of replication</vt:lpstr>
      <vt:lpstr>Why do we get  so many false positives?</vt:lpstr>
      <vt:lpstr>Problems with data analysis</vt:lpstr>
      <vt:lpstr>It is not just about (subtly) cheating with the data</vt:lpstr>
      <vt:lpstr>Data analysis is a creative process</vt:lpstr>
      <vt:lpstr>Importance of pre-registrations</vt:lpstr>
      <vt:lpstr>Reproducible research</vt:lpstr>
      <vt:lpstr>Key moment for  reproducible research</vt:lpstr>
      <vt:lpstr>False positives due to  publication bias</vt:lpstr>
      <vt:lpstr>How to combat this?</vt:lpstr>
      <vt:lpstr>Two problems with standard statistics</vt:lpstr>
      <vt:lpstr>PowerPoint Presentation</vt:lpstr>
      <vt:lpstr>Task in pairs: Bem’s study</vt:lpstr>
      <vt:lpstr>Two problems with standard statistics</vt:lpstr>
      <vt:lpstr>What to do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ukas wallrich</dc:creator>
  <cp:lastModifiedBy>lukas wallrich</cp:lastModifiedBy>
  <cp:revision>13</cp:revision>
  <dcterms:created xsi:type="dcterms:W3CDTF">2019-11-27T20:22:14Z</dcterms:created>
  <dcterms:modified xsi:type="dcterms:W3CDTF">2019-11-27T22:11:56Z</dcterms:modified>
</cp:coreProperties>
</file>